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256" r:id="rId5"/>
    <p:sldId id="257" r:id="rId6"/>
    <p:sldId id="259" r:id="rId7"/>
    <p:sldId id="273" r:id="rId8"/>
    <p:sldId id="272" r:id="rId9"/>
    <p:sldId id="274" r:id="rId10"/>
    <p:sldId id="275" r:id="rId11"/>
    <p:sldId id="276" r:id="rId12"/>
    <p:sldId id="294" r:id="rId13"/>
    <p:sldId id="295" r:id="rId14"/>
    <p:sldId id="280" r:id="rId15"/>
    <p:sldId id="282" r:id="rId16"/>
    <p:sldId id="283" r:id="rId17"/>
    <p:sldId id="258" r:id="rId18"/>
    <p:sldId id="261" r:id="rId19"/>
    <p:sldId id="296" r:id="rId20"/>
    <p:sldId id="285" r:id="rId21"/>
    <p:sldId id="286" r:id="rId22"/>
    <p:sldId id="287" r:id="rId23"/>
    <p:sldId id="293" r:id="rId24"/>
    <p:sldId id="288" r:id="rId25"/>
    <p:sldId id="289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63" autoAdjust="0"/>
    <p:restoredTop sz="86420"/>
  </p:normalViewPr>
  <p:slideViewPr>
    <p:cSldViewPr snapToGrid="0">
      <p:cViewPr>
        <p:scale>
          <a:sx n="83" d="100"/>
          <a:sy n="83" d="100"/>
        </p:scale>
        <p:origin x="1936" y="7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96" d="100"/>
          <a:sy n="96" d="100"/>
        </p:scale>
        <p:origin x="3688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1D58C10-D992-79E8-12B9-7EA9E9A81F2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433F33-6105-6A73-0EF5-E035B1E295A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67B67A-3D57-2E47-9C3C-8AF63E7539FE}" type="datetimeFigureOut">
              <a:rPr lang="en-US" smtClean="0"/>
              <a:t>4/26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9C321D-BF3C-9900-83A4-B4FA32EDAF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F99599-4128-E67E-6BD1-D8A86306F1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F36524-2504-2D4E-BDD0-ECB7D97B72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70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0FBAC-2931-9B43-A674-EE0616E13CDC}" type="datetimeFigureOut">
              <a:rPr lang="en-US" smtClean="0"/>
              <a:t>4/26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35B410-0CDD-1344-85EC-686FC526092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D9884F-1EFE-BB8D-C41F-188FE3063D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1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007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2256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4804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1586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2954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329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2" y="206062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D2C085C-6A1D-55FE-FC2B-2274062B14C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5748A7B2-D9A7-1206-BB9C-07112A1606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1F47D6-E035-C56C-E792-218EA9747CD4}"/>
              </a:ext>
            </a:extLst>
          </p:cNvPr>
          <p:cNvSpPr txBox="1"/>
          <p:nvPr userDrawn="1"/>
        </p:nvSpPr>
        <p:spPr>
          <a:xfrm>
            <a:off x="11479524" y="6606862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22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25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1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svg"/><Relationship Id="rId11" Type="http://schemas.openxmlformats.org/officeDocument/2006/relationships/image" Target="../media/image24.png"/><Relationship Id="rId5" Type="http://schemas.openxmlformats.org/officeDocument/2006/relationships/image" Target="../media/image33.png"/><Relationship Id="rId15" Type="http://schemas.openxmlformats.org/officeDocument/2006/relationships/image" Target="../media/image20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Relationship Id="rId14" Type="http://schemas.openxmlformats.org/officeDocument/2006/relationships/image" Target="../media/image23.sv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svg"/><Relationship Id="rId7" Type="http://schemas.openxmlformats.org/officeDocument/2006/relationships/image" Target="../media/image44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svg"/><Relationship Id="rId4" Type="http://schemas.openxmlformats.org/officeDocument/2006/relationships/image" Target="../media/image41.png"/><Relationship Id="rId9" Type="http://schemas.openxmlformats.org/officeDocument/2006/relationships/image" Target="../media/image46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7" Type="http://schemas.openxmlformats.org/officeDocument/2006/relationships/image" Target="../media/image25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34954B-5B6E-A708-CFE7-521EFDCD66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6383" y="3096601"/>
            <a:ext cx="9139234" cy="664797"/>
          </a:xfrm>
        </p:spPr>
        <p:txBody>
          <a:bodyPr/>
          <a:lstStyle/>
          <a:p>
            <a:r>
              <a:rPr lang="en-US" dirty="0">
                <a:latin typeface="Avenir"/>
                <a:ea typeface="Avenir"/>
                <a:cs typeface="Avenir"/>
                <a:sym typeface="Avenir"/>
              </a:rPr>
              <a:t>How to Build a Revenue Operations Capability and Charter</a:t>
            </a:r>
            <a:endParaRPr lang="en-US" dirty="0"/>
          </a:p>
        </p:txBody>
      </p:sp>
      <p:sp>
        <p:nvSpPr>
          <p:cNvPr id="5" name="Subtitle 4" hidden="1">
            <a:extLst>
              <a:ext uri="{FF2B5EF4-FFF2-40B4-BE49-F238E27FC236}">
                <a16:creationId xmlns:a16="http://schemas.microsoft.com/office/drawing/2014/main" id="{8C869C99-D541-70FF-4C6F-A9B90F0650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urrent as of March 30, 2024</a:t>
            </a:r>
          </a:p>
        </p:txBody>
      </p:sp>
    </p:spTree>
    <p:extLst>
      <p:ext uri="{BB962C8B-B14F-4D97-AF65-F5344CB8AC3E}">
        <p14:creationId xmlns:p14="http://schemas.microsoft.com/office/powerpoint/2010/main" val="24869215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venue Operations</a:t>
            </a:r>
            <a:endParaRPr lang="en-US" dirty="0">
              <a:latin typeface="Avenir Next LT Pro" panose="020B0504020202020204" pitchFamily="34" charset="77"/>
            </a:endParaRPr>
          </a:p>
        </p:txBody>
      </p:sp>
      <p:pic>
        <p:nvPicPr>
          <p:cNvPr id="2" name="Google Shape;228;p9">
            <a:extLst>
              <a:ext uri="{FF2B5EF4-FFF2-40B4-BE49-F238E27FC236}">
                <a16:creationId xmlns:a16="http://schemas.microsoft.com/office/drawing/2014/main" id="{29C6294C-B44C-1268-783B-C8CAC2DFC47E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b="8237"/>
          <a:stretch/>
        </p:blipFill>
        <p:spPr>
          <a:xfrm>
            <a:off x="1216786" y="2483007"/>
            <a:ext cx="3045124" cy="1662426"/>
          </a:xfrm>
          <a:prstGeom prst="rect">
            <a:avLst/>
          </a:prstGeom>
          <a:noFill/>
          <a:ln w="9525" cap="flat" cmpd="sng">
            <a:solidFill>
              <a:srgbClr val="005F9C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" name="Google Shape;229;p9">
            <a:extLst>
              <a:ext uri="{FF2B5EF4-FFF2-40B4-BE49-F238E27FC236}">
                <a16:creationId xmlns:a16="http://schemas.microsoft.com/office/drawing/2014/main" id="{2FF688C1-33CB-288C-DA34-2F1D8DD6985E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b="9323"/>
          <a:stretch/>
        </p:blipFill>
        <p:spPr>
          <a:xfrm>
            <a:off x="1466711" y="3632266"/>
            <a:ext cx="3045124" cy="1662425"/>
          </a:xfrm>
          <a:prstGeom prst="rect">
            <a:avLst/>
          </a:prstGeom>
          <a:noFill/>
          <a:ln w="9525" cap="flat" cmpd="sng">
            <a:solidFill>
              <a:srgbClr val="005F9C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4" name="Google Shape;230;p9">
            <a:extLst>
              <a:ext uri="{FF2B5EF4-FFF2-40B4-BE49-F238E27FC236}">
                <a16:creationId xmlns:a16="http://schemas.microsoft.com/office/drawing/2014/main" id="{88B48552-E4EC-5B1C-95AC-D10A960069B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3068" t="18182" r="32387" b="16665"/>
          <a:stretch/>
        </p:blipFill>
        <p:spPr>
          <a:xfrm>
            <a:off x="1754497" y="4719142"/>
            <a:ext cx="3045124" cy="1662426"/>
          </a:xfrm>
          <a:prstGeom prst="rect">
            <a:avLst/>
          </a:prstGeom>
          <a:noFill/>
          <a:ln w="9525" cap="flat" cmpd="sng">
            <a:solidFill>
              <a:srgbClr val="005F9C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5" name="Google Shape;236;p9">
            <a:extLst>
              <a:ext uri="{FF2B5EF4-FFF2-40B4-BE49-F238E27FC236}">
                <a16:creationId xmlns:a16="http://schemas.microsoft.com/office/drawing/2014/main" id="{AFF5B168-1A6A-78B9-8924-547ECB2D27AB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229187" y="2684647"/>
            <a:ext cx="6309360" cy="32004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6" name="Google Shape;234;p9">
            <a:extLst>
              <a:ext uri="{FF2B5EF4-FFF2-40B4-BE49-F238E27FC236}">
                <a16:creationId xmlns:a16="http://schemas.microsoft.com/office/drawing/2014/main" id="{F21C80E6-AAC3-D917-C0C4-E0AA76186610}"/>
              </a:ext>
            </a:extLst>
          </p:cNvPr>
          <p:cNvSpPr txBox="1"/>
          <p:nvPr/>
        </p:nvSpPr>
        <p:spPr>
          <a:xfrm>
            <a:off x="1619118" y="2105236"/>
            <a:ext cx="219944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600"/>
              <a:buFont typeface="Avenir"/>
              <a:buNone/>
            </a:pPr>
            <a:r>
              <a:rPr lang="en-US" sz="1600" b="1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porting Examples</a:t>
            </a:r>
            <a:endParaRPr b="1" dirty="0">
              <a:latin typeface="Avenir Next LT Pro" panose="020B0504020202020204" pitchFamily="34" charset="77"/>
            </a:endParaRPr>
          </a:p>
        </p:txBody>
      </p:sp>
      <p:sp>
        <p:nvSpPr>
          <p:cNvPr id="8" name="Google Shape;232;p9">
            <a:extLst>
              <a:ext uri="{FF2B5EF4-FFF2-40B4-BE49-F238E27FC236}">
                <a16:creationId xmlns:a16="http://schemas.microsoft.com/office/drawing/2014/main" id="{02AB197B-2675-F591-3779-7DF652300C32}"/>
              </a:ext>
            </a:extLst>
          </p:cNvPr>
          <p:cNvSpPr txBox="1"/>
          <p:nvPr/>
        </p:nvSpPr>
        <p:spPr>
          <a:xfrm>
            <a:off x="249509" y="2808509"/>
            <a:ext cx="98604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600"/>
              <a:buFont typeface="Avenir"/>
              <a:buNone/>
            </a:pPr>
            <a:r>
              <a:rPr lang="en-US" sz="14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newals </a:t>
            </a:r>
            <a:endParaRPr sz="1400" dirty="0">
              <a:latin typeface="Avenir Next LT Pro" panose="020B0504020202020204" pitchFamily="34" charset="77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600"/>
              <a:buFont typeface="Avenir"/>
              <a:buNone/>
            </a:pPr>
            <a:r>
              <a:rPr lang="en-US" sz="14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ports</a:t>
            </a:r>
            <a:endParaRPr sz="1400" dirty="0">
              <a:latin typeface="Avenir Next LT Pro" panose="020B0504020202020204" pitchFamily="34" charset="77"/>
            </a:endParaRPr>
          </a:p>
        </p:txBody>
      </p:sp>
      <p:sp>
        <p:nvSpPr>
          <p:cNvPr id="9" name="Google Shape;231;p9">
            <a:extLst>
              <a:ext uri="{FF2B5EF4-FFF2-40B4-BE49-F238E27FC236}">
                <a16:creationId xmlns:a16="http://schemas.microsoft.com/office/drawing/2014/main" id="{1D7DCD14-7A42-EF7D-D5B6-0018E22F08EA}"/>
              </a:ext>
            </a:extLst>
          </p:cNvPr>
          <p:cNvSpPr txBox="1"/>
          <p:nvPr/>
        </p:nvSpPr>
        <p:spPr>
          <a:xfrm>
            <a:off x="230490" y="4023257"/>
            <a:ext cx="876679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600"/>
              <a:buFont typeface="Avenir"/>
              <a:buNone/>
            </a:pPr>
            <a:r>
              <a:rPr lang="en-US" sz="14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Pipeline </a:t>
            </a:r>
            <a:endParaRPr sz="1400" dirty="0">
              <a:latin typeface="Avenir Next LT Pro" panose="020B0504020202020204" pitchFamily="34" charset="77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600"/>
              <a:buFont typeface="Avenir"/>
              <a:buNone/>
            </a:pPr>
            <a:r>
              <a:rPr lang="en-US" sz="14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ports</a:t>
            </a:r>
            <a:endParaRPr sz="1400" dirty="0">
              <a:latin typeface="Avenir Next LT Pro" panose="020B0504020202020204" pitchFamily="34" charset="77"/>
            </a:endParaRPr>
          </a:p>
        </p:txBody>
      </p:sp>
      <p:sp>
        <p:nvSpPr>
          <p:cNvPr id="10" name="Google Shape;233;p9">
            <a:extLst>
              <a:ext uri="{FF2B5EF4-FFF2-40B4-BE49-F238E27FC236}">
                <a16:creationId xmlns:a16="http://schemas.microsoft.com/office/drawing/2014/main" id="{3D46B603-8B34-1318-3448-08C1A70799F4}"/>
              </a:ext>
            </a:extLst>
          </p:cNvPr>
          <p:cNvSpPr txBox="1"/>
          <p:nvPr/>
        </p:nvSpPr>
        <p:spPr>
          <a:xfrm>
            <a:off x="218015" y="5033101"/>
            <a:ext cx="87668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600"/>
              <a:buFont typeface="Avenir"/>
              <a:buNone/>
            </a:pPr>
            <a:r>
              <a:rPr lang="en-US" sz="14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Churn Reports</a:t>
            </a:r>
            <a:endParaRPr sz="1400" dirty="0">
              <a:latin typeface="Avenir Next LT Pro" panose="020B0504020202020204" pitchFamily="34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91E0D95-37D9-386C-15BD-C45E77A41079}"/>
              </a:ext>
            </a:extLst>
          </p:cNvPr>
          <p:cNvSpPr/>
          <p:nvPr/>
        </p:nvSpPr>
        <p:spPr>
          <a:xfrm>
            <a:off x="0" y="1107803"/>
            <a:ext cx="121920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tx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venue Operations should work toward </a:t>
            </a:r>
            <a:r>
              <a:rPr lang="en-US" sz="1800" b="1" dirty="0">
                <a:solidFill>
                  <a:schemeClr val="tx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proactive, cross-functional, and predictive insights </a:t>
            </a:r>
          </a:p>
          <a:p>
            <a:pPr algn="ctr"/>
            <a:r>
              <a:rPr lang="en-US" sz="1800" dirty="0">
                <a:solidFill>
                  <a:schemeClr val="tx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that inform decision making for the entire commercial function. </a:t>
            </a:r>
            <a:endParaRPr lang="en-US" dirty="0">
              <a:solidFill>
                <a:schemeClr val="tx1"/>
              </a:solidFill>
              <a:latin typeface="Avenir Next LT Pro" panose="020B0504020202020204" pitchFamily="34" charset="77"/>
            </a:endParaRPr>
          </a:p>
        </p:txBody>
      </p:sp>
      <p:cxnSp>
        <p:nvCxnSpPr>
          <p:cNvPr id="13" name="Elbow Connector 12">
            <a:extLst>
              <a:ext uri="{FF2B5EF4-FFF2-40B4-BE49-F238E27FC236}">
                <a16:creationId xmlns:a16="http://schemas.microsoft.com/office/drawing/2014/main" id="{E279AD01-AADF-1376-702B-54ADC6C10CFE}"/>
              </a:ext>
            </a:extLst>
          </p:cNvPr>
          <p:cNvCxnSpPr>
            <a:cxnSpLocks/>
          </p:cNvCxnSpPr>
          <p:nvPr/>
        </p:nvCxnSpPr>
        <p:spPr>
          <a:xfrm>
            <a:off x="331770" y="3345605"/>
            <a:ext cx="801547" cy="150030"/>
          </a:xfrm>
          <a:prstGeom prst="bentConnector3">
            <a:avLst>
              <a:gd name="adj1" fmla="val 7592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DE12F2CF-90AF-731E-6A42-51520A75B951}"/>
              </a:ext>
            </a:extLst>
          </p:cNvPr>
          <p:cNvCxnSpPr>
            <a:cxnSpLocks/>
          </p:cNvCxnSpPr>
          <p:nvPr/>
        </p:nvCxnSpPr>
        <p:spPr>
          <a:xfrm>
            <a:off x="341104" y="4547966"/>
            <a:ext cx="1015990" cy="111225"/>
          </a:xfrm>
          <a:prstGeom prst="bentConnector3">
            <a:avLst>
              <a:gd name="adj1" fmla="val 5818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>
            <a:extLst>
              <a:ext uri="{FF2B5EF4-FFF2-40B4-BE49-F238E27FC236}">
                <a16:creationId xmlns:a16="http://schemas.microsoft.com/office/drawing/2014/main" id="{1BCC00EB-B766-CB96-9064-DB31D33122D1}"/>
              </a:ext>
            </a:extLst>
          </p:cNvPr>
          <p:cNvCxnSpPr>
            <a:cxnSpLocks/>
          </p:cNvCxnSpPr>
          <p:nvPr/>
        </p:nvCxnSpPr>
        <p:spPr>
          <a:xfrm>
            <a:off x="332590" y="5560808"/>
            <a:ext cx="1278014" cy="136416"/>
          </a:xfrm>
          <a:prstGeom prst="bentConnector3">
            <a:avLst>
              <a:gd name="adj1" fmla="val 4674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99198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C02283F-94A8-5EBC-D1F8-AB6774A89A53}"/>
              </a:ext>
            </a:extLst>
          </p:cNvPr>
          <p:cNvSpPr/>
          <p:nvPr/>
        </p:nvSpPr>
        <p:spPr>
          <a:xfrm>
            <a:off x="5368915" y="3329956"/>
            <a:ext cx="4825843" cy="27648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schemeClr val="tx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57FB033-E9F5-4865-EAE7-7D9AFD4B49E7}"/>
              </a:ext>
            </a:extLst>
          </p:cNvPr>
          <p:cNvSpPr/>
          <p:nvPr/>
        </p:nvSpPr>
        <p:spPr>
          <a:xfrm>
            <a:off x="0" y="1107803"/>
            <a:ext cx="121920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schemeClr val="tx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Revenue Operations Charter</a:t>
            </a:r>
          </a:p>
        </p:txBody>
      </p:sp>
      <p:sp>
        <p:nvSpPr>
          <p:cNvPr id="2" name="Google Shape;249;p10">
            <a:extLst>
              <a:ext uri="{FF2B5EF4-FFF2-40B4-BE49-F238E27FC236}">
                <a16:creationId xmlns:a16="http://schemas.microsoft.com/office/drawing/2014/main" id="{C352669A-A43F-DCBD-B6C2-5975834F24BD}"/>
              </a:ext>
            </a:extLst>
          </p:cNvPr>
          <p:cNvSpPr txBox="1"/>
          <p:nvPr/>
        </p:nvSpPr>
        <p:spPr>
          <a:xfrm>
            <a:off x="513346" y="1380337"/>
            <a:ext cx="430730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Process for Defining a Charter</a:t>
            </a:r>
            <a:endParaRPr b="1" dirty="0">
              <a:latin typeface="Avenir Next LT Pro" panose="020B0504020202020204" pitchFamily="34" charset="77"/>
            </a:endParaRPr>
          </a:p>
        </p:txBody>
      </p:sp>
      <p:sp>
        <p:nvSpPr>
          <p:cNvPr id="3" name="Google Shape;244;p10">
            <a:extLst>
              <a:ext uri="{FF2B5EF4-FFF2-40B4-BE49-F238E27FC236}">
                <a16:creationId xmlns:a16="http://schemas.microsoft.com/office/drawing/2014/main" id="{1FE49DB1-C26E-6D5A-5580-7FD7997D2A5D}"/>
              </a:ext>
            </a:extLst>
          </p:cNvPr>
          <p:cNvSpPr/>
          <p:nvPr/>
        </p:nvSpPr>
        <p:spPr>
          <a:xfrm>
            <a:off x="1564105" y="2003138"/>
            <a:ext cx="2277979" cy="914400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1. Hold a meeting with CEO and GTM C-suite</a:t>
            </a:r>
            <a:endParaRPr dirty="0">
              <a:solidFill>
                <a:schemeClr val="bg1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4" name="Google Shape;245;p10">
            <a:extLst>
              <a:ext uri="{FF2B5EF4-FFF2-40B4-BE49-F238E27FC236}">
                <a16:creationId xmlns:a16="http://schemas.microsoft.com/office/drawing/2014/main" id="{56A455F9-6057-B289-AC12-26754A564D95}"/>
              </a:ext>
            </a:extLst>
          </p:cNvPr>
          <p:cNvSpPr/>
          <p:nvPr/>
        </p:nvSpPr>
        <p:spPr>
          <a:xfrm>
            <a:off x="3681663" y="2020274"/>
            <a:ext cx="2277979" cy="914400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2. Understand leadership expectations</a:t>
            </a:r>
            <a:endParaRPr dirty="0">
              <a:solidFill>
                <a:schemeClr val="bg1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5" name="Google Shape;246;p10">
            <a:extLst>
              <a:ext uri="{FF2B5EF4-FFF2-40B4-BE49-F238E27FC236}">
                <a16:creationId xmlns:a16="http://schemas.microsoft.com/office/drawing/2014/main" id="{BC47AD04-9F38-AF04-79EB-E4E8D50E91F7}"/>
              </a:ext>
            </a:extLst>
          </p:cNvPr>
          <p:cNvSpPr/>
          <p:nvPr/>
        </p:nvSpPr>
        <p:spPr>
          <a:xfrm>
            <a:off x="5799221" y="2014430"/>
            <a:ext cx="2277979" cy="914400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3. Define the data required for decision-making</a:t>
            </a:r>
            <a:endParaRPr dirty="0">
              <a:solidFill>
                <a:schemeClr val="bg1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6" name="Google Shape;247;p10">
            <a:extLst>
              <a:ext uri="{FF2B5EF4-FFF2-40B4-BE49-F238E27FC236}">
                <a16:creationId xmlns:a16="http://schemas.microsoft.com/office/drawing/2014/main" id="{E4025610-2963-44F4-9B03-BE5168C2BAA4}"/>
              </a:ext>
            </a:extLst>
          </p:cNvPr>
          <p:cNvSpPr/>
          <p:nvPr/>
        </p:nvSpPr>
        <p:spPr>
          <a:xfrm>
            <a:off x="7916779" y="2003138"/>
            <a:ext cx="2277979" cy="914400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4. Understand areas owned by other functions</a:t>
            </a:r>
            <a:endParaRPr dirty="0">
              <a:solidFill>
                <a:schemeClr val="bg1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8" name="Google Shape;248;p10">
            <a:extLst>
              <a:ext uri="{FF2B5EF4-FFF2-40B4-BE49-F238E27FC236}">
                <a16:creationId xmlns:a16="http://schemas.microsoft.com/office/drawing/2014/main" id="{2F61E2E1-9AD2-C4E2-59AE-90D961FB4588}"/>
              </a:ext>
            </a:extLst>
          </p:cNvPr>
          <p:cNvSpPr txBox="1"/>
          <p:nvPr/>
        </p:nvSpPr>
        <p:spPr>
          <a:xfrm>
            <a:off x="1564105" y="3329956"/>
            <a:ext cx="4307306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Common Revenue Operations Responsibilities</a:t>
            </a:r>
            <a:endParaRPr b="1" dirty="0">
              <a:latin typeface="Avenir Next LT Pro" panose="020B0504020202020204" pitchFamily="34" charset="77"/>
            </a:endParaRPr>
          </a:p>
        </p:txBody>
      </p:sp>
      <p:sp>
        <p:nvSpPr>
          <p:cNvPr id="9" name="Google Shape;250;p10">
            <a:extLst>
              <a:ext uri="{FF2B5EF4-FFF2-40B4-BE49-F238E27FC236}">
                <a16:creationId xmlns:a16="http://schemas.microsoft.com/office/drawing/2014/main" id="{C1A767F6-D5F9-FB71-3654-2E84DB43690D}"/>
              </a:ext>
            </a:extLst>
          </p:cNvPr>
          <p:cNvSpPr txBox="1"/>
          <p:nvPr/>
        </p:nvSpPr>
        <p:spPr>
          <a:xfrm>
            <a:off x="6090745" y="3558227"/>
            <a:ext cx="2998598" cy="2308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18288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venir"/>
              <a:buChar char="•"/>
            </a:pP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Sales Planning</a:t>
            </a:r>
            <a:endParaRPr sz="16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18288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venir"/>
              <a:buChar char="•"/>
            </a:pP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Territory Design</a:t>
            </a:r>
            <a:endParaRPr sz="16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18288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venir"/>
              <a:buChar char="•"/>
            </a:pP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Sales Process</a:t>
            </a:r>
            <a:endParaRPr sz="16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18288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venir"/>
              <a:buChar char="•"/>
            </a:pP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Sales Compensation</a:t>
            </a:r>
            <a:endParaRPr sz="16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18288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venir"/>
              <a:buChar char="•"/>
            </a:pP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Quota Setting</a:t>
            </a:r>
            <a:endParaRPr sz="16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18288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venir"/>
              <a:buChar char="•"/>
            </a:pP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Sales Org Design</a:t>
            </a:r>
            <a:endParaRPr sz="16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18288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venir"/>
              <a:buChar char="•"/>
            </a:pP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Customer Churn</a:t>
            </a:r>
            <a:endParaRPr sz="16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18288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venir"/>
              <a:buChar char="•"/>
            </a:pP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newal Rates</a:t>
            </a:r>
            <a:endParaRPr sz="16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18288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venir"/>
              <a:buChar char="•"/>
            </a:pP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Upsell/Cross-Sell Potential</a:t>
            </a:r>
            <a:endParaRPr sz="16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8C6F8113-76F8-F72D-1212-AE465FCE0DDF}"/>
              </a:ext>
            </a:extLst>
          </p:cNvPr>
          <p:cNvSpPr/>
          <p:nvPr/>
        </p:nvSpPr>
        <p:spPr>
          <a:xfrm>
            <a:off x="3599768" y="3729969"/>
            <a:ext cx="484632" cy="484632"/>
          </a:xfrm>
          <a:prstGeom prst="chevron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Chevron 13">
            <a:extLst>
              <a:ext uri="{FF2B5EF4-FFF2-40B4-BE49-F238E27FC236}">
                <a16:creationId xmlns:a16="http://schemas.microsoft.com/office/drawing/2014/main" id="{DD193B82-AFB3-5D84-257B-4C58163BFA94}"/>
              </a:ext>
            </a:extLst>
          </p:cNvPr>
          <p:cNvSpPr/>
          <p:nvPr/>
        </p:nvSpPr>
        <p:spPr>
          <a:xfrm>
            <a:off x="4071065" y="3729969"/>
            <a:ext cx="484632" cy="484632"/>
          </a:xfrm>
          <a:prstGeom prst="chevron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C91D212-EAB6-AAAB-EF22-41E9D8820689}"/>
              </a:ext>
            </a:extLst>
          </p:cNvPr>
          <p:cNvCxnSpPr>
            <a:cxnSpLocks/>
          </p:cNvCxnSpPr>
          <p:nvPr/>
        </p:nvCxnSpPr>
        <p:spPr>
          <a:xfrm>
            <a:off x="5368915" y="6067888"/>
            <a:ext cx="4825843" cy="26894"/>
          </a:xfrm>
          <a:prstGeom prst="line">
            <a:avLst/>
          </a:prstGeom>
          <a:ln w="47625"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94121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C724A93-8D6C-9041-72C0-CA08BD7AE772}"/>
              </a:ext>
            </a:extLst>
          </p:cNvPr>
          <p:cNvSpPr/>
          <p:nvPr/>
        </p:nvSpPr>
        <p:spPr>
          <a:xfrm>
            <a:off x="0" y="1080027"/>
            <a:ext cx="121920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4F92D85-12E9-A9BB-D588-F69345FC7E26}"/>
              </a:ext>
            </a:extLst>
          </p:cNvPr>
          <p:cNvSpPr/>
          <p:nvPr/>
        </p:nvSpPr>
        <p:spPr>
          <a:xfrm>
            <a:off x="374469" y="2685669"/>
            <a:ext cx="11591100" cy="328233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Questions to Consider</a:t>
            </a:r>
          </a:p>
        </p:txBody>
      </p:sp>
      <p:sp>
        <p:nvSpPr>
          <p:cNvPr id="3" name="Google Shape;257;p11">
            <a:extLst>
              <a:ext uri="{FF2B5EF4-FFF2-40B4-BE49-F238E27FC236}">
                <a16:creationId xmlns:a16="http://schemas.microsoft.com/office/drawing/2014/main" id="{52B1D6E9-AE2E-776F-5995-4F4D9A104F9C}"/>
              </a:ext>
            </a:extLst>
          </p:cNvPr>
          <p:cNvSpPr/>
          <p:nvPr/>
        </p:nvSpPr>
        <p:spPr>
          <a:xfrm rot="-5400000">
            <a:off x="6016132" y="-4120543"/>
            <a:ext cx="307778" cy="11591103"/>
          </a:xfrm>
          <a:prstGeom prst="rightBracket">
            <a:avLst>
              <a:gd name="adj" fmla="val 8333"/>
            </a:avLst>
          </a:prstGeom>
          <a:noFill/>
          <a:ln w="19050" cap="flat" cmpd="sng">
            <a:solidFill>
              <a:schemeClr val="accent3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venir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Google Shape;259;p11">
            <a:extLst>
              <a:ext uri="{FF2B5EF4-FFF2-40B4-BE49-F238E27FC236}">
                <a16:creationId xmlns:a16="http://schemas.microsoft.com/office/drawing/2014/main" id="{527916B7-1ACB-0FC4-7B68-77AF3247AB3F}"/>
              </a:ext>
            </a:extLst>
          </p:cNvPr>
          <p:cNvSpPr txBox="1"/>
          <p:nvPr/>
        </p:nvSpPr>
        <p:spPr>
          <a:xfrm>
            <a:off x="1871912" y="1994427"/>
            <a:ext cx="928136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1200" i="1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at is the role of the Revenue Ops team to drive efficiency in the sales organization and how can this improve in the future?</a:t>
            </a:r>
            <a:endParaRPr dirty="0">
              <a:latin typeface="Avenir Next LT Pro" panose="020B0504020202020204" pitchFamily="34" charset="77"/>
            </a:endParaRPr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1200" i="1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at is the Revenue Ops team not doing today that it SHOULD be doing in the future?</a:t>
            </a:r>
            <a:endParaRPr dirty="0">
              <a:latin typeface="Avenir Next LT Pro" panose="020B0504020202020204" pitchFamily="34" charset="77"/>
            </a:endParaRPr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1200" i="1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at is the Revenue Ops team doing today, that it should NOT be doing in the future?</a:t>
            </a:r>
            <a:endParaRPr sz="12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graphicFrame>
        <p:nvGraphicFramePr>
          <p:cNvPr id="5" name="Google Shape;256;p11">
            <a:extLst>
              <a:ext uri="{FF2B5EF4-FFF2-40B4-BE49-F238E27FC236}">
                <a16:creationId xmlns:a16="http://schemas.microsoft.com/office/drawing/2014/main" id="{5A859824-7900-CF7F-EDAC-89E2FF2CEB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2046617"/>
              </p:ext>
            </p:extLst>
          </p:nvPr>
        </p:nvGraphicFramePr>
        <p:xfrm>
          <a:off x="374469" y="2685669"/>
          <a:ext cx="11591100" cy="51817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931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1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31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31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318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318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1072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1"/>
                          </a:solidFill>
                        </a:rPr>
                        <a:t>2. Data Strategy</a:t>
                      </a:r>
                      <a:endParaRPr sz="1400" dirty="0">
                        <a:solidFill>
                          <a:schemeClr val="bg1"/>
                        </a:solidFill>
                      </a:endParaRPr>
                    </a:p>
                  </a:txBody>
                  <a:tcPr marL="45725" marR="45725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1"/>
                          </a:solidFill>
                        </a:rPr>
                        <a:t>3. Analytic Strategy</a:t>
                      </a:r>
                      <a:br>
                        <a:rPr lang="en-US" sz="1400" b="1" u="none" strike="noStrike" cap="none" dirty="0">
                          <a:solidFill>
                            <a:schemeClr val="bg1"/>
                          </a:solidFill>
                        </a:rPr>
                      </a:br>
                      <a:endParaRPr sz="1400" b="0" i="0" u="none" strike="noStrike" cap="none" dirty="0">
                        <a:solidFill>
                          <a:schemeClr val="bg1"/>
                        </a:solidFill>
                        <a:latin typeface="Avenir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45725" marR="45725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1"/>
                          </a:solidFill>
                        </a:rPr>
                        <a:t>4. Reporting</a:t>
                      </a:r>
                      <a:endParaRPr sz="1400" dirty="0">
                        <a:solidFill>
                          <a:schemeClr val="bg1"/>
                        </a:solidFill>
                      </a:endParaRPr>
                    </a:p>
                  </a:txBody>
                  <a:tcPr marL="45725" marR="45725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1"/>
                          </a:solidFill>
                        </a:rPr>
                        <a:t>5. Systems</a:t>
                      </a:r>
                      <a:endParaRPr sz="1400" dirty="0">
                        <a:solidFill>
                          <a:schemeClr val="bg1"/>
                        </a:solidFill>
                      </a:endParaRPr>
                    </a:p>
                  </a:txBody>
                  <a:tcPr marL="45725" marR="45725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400" b="1" u="none" strike="noStrike" cap="none">
                          <a:solidFill>
                            <a:schemeClr val="bg1"/>
                          </a:solidFill>
                        </a:rPr>
                        <a:t>6. Support</a:t>
                      </a:r>
                      <a:endParaRPr sz="1400">
                        <a:solidFill>
                          <a:schemeClr val="bg1"/>
                        </a:solidFill>
                      </a:endParaRPr>
                    </a:p>
                  </a:txBody>
                  <a:tcPr marL="45725" marR="45725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1"/>
                          </a:solidFill>
                        </a:rPr>
                        <a:t>7. Revenue Ops Org Design</a:t>
                      </a:r>
                      <a:endParaRPr sz="1400" dirty="0">
                        <a:solidFill>
                          <a:schemeClr val="bg1"/>
                        </a:solidFill>
                      </a:endParaRPr>
                    </a:p>
                  </a:txBody>
                  <a:tcPr marL="45725" marR="45725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Google Shape;260;p11">
            <a:extLst>
              <a:ext uri="{FF2B5EF4-FFF2-40B4-BE49-F238E27FC236}">
                <a16:creationId xmlns:a16="http://schemas.microsoft.com/office/drawing/2014/main" id="{6CB7F564-E131-1F0C-A244-F37CD88C61E4}"/>
              </a:ext>
            </a:extLst>
          </p:cNvPr>
          <p:cNvSpPr txBox="1"/>
          <p:nvPr/>
        </p:nvSpPr>
        <p:spPr>
          <a:xfrm>
            <a:off x="296551" y="3382715"/>
            <a:ext cx="1957136" cy="1846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How are decisions made around what data points should be captured to drive sales decisions?</a:t>
            </a:r>
            <a:endParaRPr sz="900" dirty="0">
              <a:latin typeface="Avenir Next LT Pro" panose="020B0504020202020204" pitchFamily="34" charset="77"/>
            </a:endParaRPr>
          </a:p>
          <a:p>
            <a:pPr marL="228600" marR="0" lvl="0" indent="-22860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o decides what needs to be measured?</a:t>
            </a:r>
            <a:endParaRPr sz="900" dirty="0">
              <a:latin typeface="Avenir Next LT Pro" panose="020B0504020202020204" pitchFamily="34" charset="77"/>
            </a:endParaRPr>
          </a:p>
          <a:p>
            <a:pPr marL="228600" marR="0" lvl="0" indent="-22860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How are data points identified and what systems need to capture said data points?</a:t>
            </a:r>
            <a:endParaRPr sz="9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9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8" name="Google Shape;261;p11">
            <a:extLst>
              <a:ext uri="{FF2B5EF4-FFF2-40B4-BE49-F238E27FC236}">
                <a16:creationId xmlns:a16="http://schemas.microsoft.com/office/drawing/2014/main" id="{A481FBFD-9DCC-7B28-4352-7B1925365601}"/>
              </a:ext>
            </a:extLst>
          </p:cNvPr>
          <p:cNvSpPr txBox="1"/>
          <p:nvPr/>
        </p:nvSpPr>
        <p:spPr>
          <a:xfrm>
            <a:off x="2265948" y="3382717"/>
            <a:ext cx="1957136" cy="2031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at are the core metrics to be analyzed and drive decisions?</a:t>
            </a:r>
            <a:endParaRPr sz="9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9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o is deriving insights from the data using what methods?</a:t>
            </a:r>
            <a:endParaRPr sz="9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9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How are the insights leveraged by the Revenue Ops team and sales management teams to drive change?</a:t>
            </a:r>
            <a:endParaRPr sz="9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9" name="Google Shape;262;p11">
            <a:extLst>
              <a:ext uri="{FF2B5EF4-FFF2-40B4-BE49-F238E27FC236}">
                <a16:creationId xmlns:a16="http://schemas.microsoft.com/office/drawing/2014/main" id="{9F9D88ED-BA23-6464-0A41-0216991F6798}"/>
              </a:ext>
            </a:extLst>
          </p:cNvPr>
          <p:cNvSpPr txBox="1"/>
          <p:nvPr/>
        </p:nvSpPr>
        <p:spPr>
          <a:xfrm>
            <a:off x="4198562" y="3382717"/>
            <a:ext cx="1957136" cy="18927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How are the reports disseminated to the executive team (modality/system, frequency, etc.)?</a:t>
            </a:r>
            <a:endParaRPr sz="900">
              <a:latin typeface="Avenir Next LT Pro" panose="020B0504020202020204" pitchFamily="34" charset="77"/>
            </a:endParaRPr>
          </a:p>
          <a:p>
            <a:pPr marL="228600" marR="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o is creating the reports?</a:t>
            </a:r>
            <a:endParaRPr sz="900">
              <a:latin typeface="Avenir Next LT Pro" panose="020B0504020202020204" pitchFamily="34" charset="77"/>
            </a:endParaRPr>
          </a:p>
          <a:p>
            <a:pPr marL="228600" marR="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How are dashboards leveraged for Pipeline, Forecast, and QBR processes?</a:t>
            </a:r>
            <a:endParaRPr sz="900">
              <a:latin typeface="Avenir Next LT Pro" panose="020B0504020202020204" pitchFamily="34" charset="77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10" name="Google Shape;263;p11">
            <a:extLst>
              <a:ext uri="{FF2B5EF4-FFF2-40B4-BE49-F238E27FC236}">
                <a16:creationId xmlns:a16="http://schemas.microsoft.com/office/drawing/2014/main" id="{2219FD42-378F-36BF-4BD5-56890E81F95A}"/>
              </a:ext>
            </a:extLst>
          </p:cNvPr>
          <p:cNvSpPr txBox="1"/>
          <p:nvPr/>
        </p:nvSpPr>
        <p:spPr>
          <a:xfrm>
            <a:off x="6180220" y="3382716"/>
            <a:ext cx="1957136" cy="2585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at systems are being leveraged to drive efficiency in the sales organization?</a:t>
            </a:r>
            <a:endParaRPr sz="900">
              <a:latin typeface="Avenir Next LT Pro" panose="020B0504020202020204" pitchFamily="34" charset="77"/>
            </a:endParaRPr>
          </a:p>
          <a:p>
            <a:pPr marL="228600" marR="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How much time is being spent on systems in the field?</a:t>
            </a:r>
            <a:endParaRPr sz="900">
              <a:latin typeface="Avenir Next LT Pro" panose="020B0504020202020204" pitchFamily="34" charset="77"/>
            </a:endParaRPr>
          </a:p>
          <a:p>
            <a:pPr marL="228600" marR="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at is the technology roadmap for the future and what efficiencies will those systems drive?</a:t>
            </a:r>
            <a:endParaRPr sz="900">
              <a:latin typeface="Avenir Next LT Pro" panose="020B0504020202020204" pitchFamily="34" charset="77"/>
            </a:endParaRPr>
          </a:p>
          <a:p>
            <a:pPr marL="228600" marR="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o makes systems roadmap decisions?</a:t>
            </a:r>
            <a:endParaRPr sz="900">
              <a:latin typeface="Avenir Next LT Pro" panose="020B0504020202020204" pitchFamily="34" charset="77"/>
            </a:endParaRPr>
          </a:p>
          <a:p>
            <a:pPr marL="228600" marR="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o is managing the sales systems today?</a:t>
            </a:r>
            <a:endParaRPr sz="900">
              <a:latin typeface="Avenir Next LT Pro" panose="020B0504020202020204" pitchFamily="34" charset="77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11" name="Google Shape;264;p11">
            <a:extLst>
              <a:ext uri="{FF2B5EF4-FFF2-40B4-BE49-F238E27FC236}">
                <a16:creationId xmlns:a16="http://schemas.microsoft.com/office/drawing/2014/main" id="{97019C3C-B05C-0899-DCEC-8BCB4F087469}"/>
              </a:ext>
            </a:extLst>
          </p:cNvPr>
          <p:cNvSpPr txBox="1"/>
          <p:nvPr/>
        </p:nvSpPr>
        <p:spPr>
          <a:xfrm>
            <a:off x="8137356" y="3382716"/>
            <a:ext cx="1905002" cy="27237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o represents the field to other functional groups within the organization?</a:t>
            </a:r>
            <a:endParaRPr sz="900">
              <a:latin typeface="Avenir Next LT Pro" panose="020B0504020202020204" pitchFamily="34" charset="77"/>
            </a:endParaRPr>
          </a:p>
          <a:p>
            <a:pPr marL="228600" marR="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at processes are in place to guide sales (Big Deal Review, Deal Desk/CPQ, QBRs, etc?) </a:t>
            </a:r>
            <a:endParaRPr sz="900">
              <a:latin typeface="Avenir Next LT Pro" panose="020B0504020202020204" pitchFamily="34" charset="77"/>
            </a:endParaRPr>
          </a:p>
          <a:p>
            <a:pPr marL="228600" marR="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How is selling time is being impacted by administrative burden (selling drag)?</a:t>
            </a:r>
            <a:endParaRPr sz="900">
              <a:latin typeface="Avenir Next LT Pro" panose="020B0504020202020204" pitchFamily="34" charset="77"/>
            </a:endParaRPr>
          </a:p>
          <a:p>
            <a:pPr marL="228600" marR="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at is the Revenue Ops team doing today and what needs to be done in the future to eliminate/reduce selling drag?</a:t>
            </a:r>
            <a:endParaRPr sz="900">
              <a:latin typeface="Avenir Next LT Pro" panose="020B0504020202020204" pitchFamily="34" charset="77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12" name="Google Shape;265;p11">
            <a:extLst>
              <a:ext uri="{FF2B5EF4-FFF2-40B4-BE49-F238E27FC236}">
                <a16:creationId xmlns:a16="http://schemas.microsoft.com/office/drawing/2014/main" id="{8F7EC9B1-0C01-5724-9394-1798C572ED9A}"/>
              </a:ext>
            </a:extLst>
          </p:cNvPr>
          <p:cNvSpPr txBox="1"/>
          <p:nvPr/>
        </p:nvSpPr>
        <p:spPr>
          <a:xfrm>
            <a:off x="10008433" y="3382715"/>
            <a:ext cx="1957136" cy="18927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at is the right structure for the Revenue Ops team and why?</a:t>
            </a:r>
            <a:endParaRPr sz="900">
              <a:latin typeface="Avenir Next LT Pro" panose="020B0504020202020204" pitchFamily="34" charset="77"/>
            </a:endParaRPr>
          </a:p>
          <a:p>
            <a:pPr marL="228600" marR="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at roles do we need that we don’t have today and why?</a:t>
            </a:r>
            <a:endParaRPr sz="900">
              <a:latin typeface="Avenir Next LT Pro" panose="020B0504020202020204" pitchFamily="34" charset="77"/>
            </a:endParaRPr>
          </a:p>
          <a:p>
            <a:pPr marL="228600" marR="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9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Where do we have inefficiencies, as far as roles and responsibilities today and why?</a:t>
            </a:r>
            <a:endParaRPr sz="900">
              <a:latin typeface="Avenir Next LT Pro" panose="020B0504020202020204" pitchFamily="34" charset="77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2" name="Google Shape;258;p11">
            <a:extLst>
              <a:ext uri="{FF2B5EF4-FFF2-40B4-BE49-F238E27FC236}">
                <a16:creationId xmlns:a16="http://schemas.microsoft.com/office/drawing/2014/main" id="{F9457145-47BF-CA94-21E1-321D80A54100}"/>
              </a:ext>
            </a:extLst>
          </p:cNvPr>
          <p:cNvSpPr txBox="1"/>
          <p:nvPr/>
        </p:nvSpPr>
        <p:spPr>
          <a:xfrm>
            <a:off x="4262841" y="1342241"/>
            <a:ext cx="3814355" cy="3077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bg1"/>
                </a:solidFill>
                <a:latin typeface="Avenir Next LT Pro" panose="020B0504020202020204" pitchFamily="34" charset="77"/>
                <a:ea typeface="Arial"/>
                <a:cs typeface="Arial"/>
                <a:sym typeface="Arial"/>
              </a:rPr>
              <a:t>1. Scope of Revenue Operations Charter</a:t>
            </a:r>
            <a:endParaRPr sz="1800" dirty="0">
              <a:solidFill>
                <a:schemeClr val="bg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</p:spTree>
    <p:extLst>
      <p:ext uri="{BB962C8B-B14F-4D97-AF65-F5344CB8AC3E}">
        <p14:creationId xmlns:p14="http://schemas.microsoft.com/office/powerpoint/2010/main" val="19253402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Revenue Operations Supports Cross-Functional Teams</a:t>
            </a:r>
          </a:p>
        </p:txBody>
      </p:sp>
      <p:graphicFrame>
        <p:nvGraphicFramePr>
          <p:cNvPr id="2" name="Google Shape;271;p12">
            <a:extLst>
              <a:ext uri="{FF2B5EF4-FFF2-40B4-BE49-F238E27FC236}">
                <a16:creationId xmlns:a16="http://schemas.microsoft.com/office/drawing/2014/main" id="{44CAA49A-EA46-B569-D463-9AE9902723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1865371"/>
              </p:ext>
            </p:extLst>
          </p:nvPr>
        </p:nvGraphicFramePr>
        <p:xfrm>
          <a:off x="609600" y="900957"/>
          <a:ext cx="11493826" cy="5472765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13533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32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075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375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Function</a:t>
                      </a:r>
                      <a:endParaRPr b="1" dirty="0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Objective</a:t>
                      </a:r>
                      <a:endParaRPr b="1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Revenue Ops Priority</a:t>
                      </a:r>
                      <a:endParaRPr b="1" dirty="0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781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Product</a:t>
                      </a:r>
                      <a:endParaRPr dirty="0"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Meet New Product Revenue and Margin Goals</a:t>
                      </a:r>
                      <a:endParaRPr dirty="0">
                        <a:latin typeface="Avenir Next LT Pro" panose="020B0504020202020204" pitchFamily="34" charset="77"/>
                      </a:endParaRPr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Gain visibility to current and future performance by product</a:t>
                      </a:r>
                      <a:endParaRPr sz="900" dirty="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Create and deploy buyer-centric direct training content</a:t>
                      </a:r>
                      <a:endParaRPr dirty="0">
                        <a:latin typeface="Avenir Next LT Pro" panose="020B0504020202020204" pitchFamily="34" charset="77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Create and deploy Sales Dashboards , Pipeline Reports &amp; Forecasts with Product-level detail</a:t>
                      </a:r>
                      <a:endParaRPr sz="900" dirty="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321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Customer Support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Align Sales processes and procedures to make it easy to do business with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Improve overall Customer Satisfaction</a:t>
                      </a:r>
                      <a:endParaRPr sz="90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Win / Loss / Renewal Reporting</a:t>
                      </a:r>
                      <a:endParaRPr dirty="0">
                        <a:latin typeface="Avenir Next LT Pro" panose="020B0504020202020204" pitchFamily="34" charset="77"/>
                      </a:endParaRPr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Sales Training content for operating efficiently with Support functions throughout</a:t>
                      </a:r>
                      <a:endParaRPr sz="900" dirty="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2059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IT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Deploy systems that directly support business objectives</a:t>
                      </a:r>
                      <a:endParaRPr dirty="0"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Minimize IT and overall company costs associated with  system deployments, data capture, access or use.</a:t>
                      </a:r>
                      <a:endParaRPr sz="900" dirty="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Automate Sales Pipeline reporting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Support the creation of sales performance dashboards and compensation reconciliation reporting</a:t>
                      </a:r>
                      <a:endParaRPr sz="90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055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HR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Attract and retain “A” players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Develop Talent to increase effectiveness and efficiency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Evaluate personnel to ensure the company makes the most of its human resources </a:t>
                      </a:r>
                      <a:endParaRPr sz="90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  <a:p>
                      <a:pPr marL="285750" marR="0" lvl="0" indent="-2286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None/>
                      </a:pPr>
                      <a:endParaRPr sz="90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Support HR in identifying and codifying “A” player competencies 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Build and deploy training and other enablement content / tools  for on-boarding and existing reps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Deliver sales performance dashboards and associated analysis that provides common definitions and approach</a:t>
                      </a:r>
                      <a:endParaRPr sz="90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56307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Finance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Meeting revenue and margin goals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Improved Forecasting Accuracy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Aligning sales compensation and all other sales costs to sales and overall company strategy </a:t>
                      </a:r>
                      <a:endParaRPr sz="90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Alignment of Sales and Finance Pipeline reporting and Forecasting methodology 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Instituting a Pipeline Management process to improve reliability of Pipeline data 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Expediting compensation reconciliation and reporting.  Supplying reports that deliver insight into sales resource effectiveness and efficiency  </a:t>
                      </a:r>
                      <a:endParaRPr sz="90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56307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Marketing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Improved efficiency and effectiveness in Lead &amp; Demand Generation</a:t>
                      </a:r>
                      <a:endParaRPr dirty="0"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Increased contribution to overall revenue goals</a:t>
                      </a:r>
                      <a:endParaRPr dirty="0"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Maximizing impact of Marketing created content</a:t>
                      </a:r>
                      <a:endParaRPr sz="900" dirty="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Account Segmentation output to be leveraged for fine-tuned campaign targeting </a:t>
                      </a:r>
                      <a:endParaRPr dirty="0"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Instituting a Pipeline Management process with specific SLA’s  for sales actions against leads generated.  Shared KPI’s with Marketing</a:t>
                      </a:r>
                      <a:endParaRPr dirty="0"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Joint effort with Marketing to create more effective persona-based sales training content</a:t>
                      </a:r>
                      <a:endParaRPr sz="900" dirty="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2480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Sales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Measure and respond to sales organizations’ overall performance, efficiency and effectiveness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Recommend strategic sales initiatives; deploy and monitor their roll-out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Represent sales to other key functional groups within the organization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Deliver common measurements, processes, tools &amp; training to the sales organization to drive consistency and predictability </a:t>
                      </a:r>
                      <a:endParaRPr sz="90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Align Sales &amp; Finance reporting to eradicate inconsistent data use and remove ambiguity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Ensure resource allocation and structure aligns with sales opportunities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Improve Pipeline Management process and  forecasting to improve reliability of the forecast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Deliver consistent sales performance dashboards and associated analysis that ensure common view of good vs. bad performance </a:t>
                      </a:r>
                      <a:endParaRPr sz="90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79055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CEO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</a:rPr>
                        <a:t>Measure and respond to overall Sales Performance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</a:rPr>
                        <a:t>Gaining Pipeline Visibility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</a:rPr>
                        <a:t>Ensuring Pipeline Accuracy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</a:rPr>
                        <a:t>Identifying Growth Opportunities by Segment</a:t>
                      </a:r>
                      <a:endParaRPr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>
                          <a:latin typeface="Avenir Next LT Pro" panose="020B0504020202020204" pitchFamily="34" charset="77"/>
                        </a:rPr>
                        <a:t>Competitive Intelligence</a:t>
                      </a:r>
                      <a:endParaRPr sz="900">
                        <a:latin typeface="Avenir Next LT Pro" panose="020B0504020202020204" pitchFamily="34" charset="77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</a:rPr>
                        <a:t>Sales Dashboard reporting to all levels</a:t>
                      </a:r>
                      <a:endParaRPr dirty="0"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</a:rPr>
                        <a:t>Pipeline Reporting by Product and Time Horizon</a:t>
                      </a:r>
                      <a:endParaRPr dirty="0"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</a:rPr>
                        <a:t>Pipeline Management Process</a:t>
                      </a:r>
                      <a:endParaRPr dirty="0"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</a:rPr>
                        <a:t>Account Segmentation to address Direct, Legacy and Services Revenue Opportunity</a:t>
                      </a:r>
                      <a:endParaRPr dirty="0">
                        <a:latin typeface="Avenir Next LT Pro" panose="020B0504020202020204" pitchFamily="34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Arial"/>
                        <a:buChar char="•"/>
                      </a:pPr>
                      <a:r>
                        <a:rPr lang="en-US" sz="900" dirty="0">
                          <a:latin typeface="Avenir Next LT Pro" panose="020B0504020202020204" pitchFamily="34" charset="77"/>
                        </a:rPr>
                        <a:t>Revenue Enablement Win/Loss reporting and Competitive Intelligence training development</a:t>
                      </a:r>
                      <a:endParaRPr sz="900" dirty="0">
                        <a:latin typeface="Avenir Next LT Pro" panose="020B0504020202020204" pitchFamily="34" charset="77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5962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8F866F-35CB-E355-5BEF-EEC76CFED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venue Operations: Client Examples</a:t>
            </a:r>
            <a:endParaRPr lang="en-US" dirty="0">
              <a:latin typeface="Avenir Next LT Pro" panose="020B0504020202020204" pitchFamily="34" charset="77"/>
            </a:endParaRPr>
          </a:p>
        </p:txBody>
      </p:sp>
      <p:sp>
        <p:nvSpPr>
          <p:cNvPr id="6" name="Text Placeholder 5" hidden="1">
            <a:extLst>
              <a:ext uri="{FF2B5EF4-FFF2-40B4-BE49-F238E27FC236}">
                <a16:creationId xmlns:a16="http://schemas.microsoft.com/office/drawing/2014/main" id="{CFDC0119-3FB0-12E3-1298-E5DC88FED1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2533649"/>
            <a:ext cx="870858" cy="877824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0054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 hidden="1">
            <a:extLst>
              <a:ext uri="{FF2B5EF4-FFF2-40B4-BE49-F238E27FC236}">
                <a16:creationId xmlns:a16="http://schemas.microsoft.com/office/drawing/2014/main" id="{4E4943DC-70AF-DFC4-A04C-E6627B6788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D87B5A-20D1-4E2D-3D49-6B7D18C404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4000" i="1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venue Operations is the effectiveness and performance arm of the ACME go-to-market organization.  </a:t>
            </a:r>
          </a:p>
          <a:p>
            <a:r>
              <a:rPr lang="en-US" sz="4000" i="1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The goal is to drive improvements that increase commercial effectiveness and efficiency. </a:t>
            </a:r>
            <a:endParaRPr lang="en-US" sz="3200" dirty="0"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6060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39745CA0-7AFE-B171-0328-F62F0B22C41F}"/>
              </a:ext>
            </a:extLst>
          </p:cNvPr>
          <p:cNvSpPr/>
          <p:nvPr/>
        </p:nvSpPr>
        <p:spPr>
          <a:xfrm>
            <a:off x="6114182" y="2647919"/>
            <a:ext cx="5759163" cy="36467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F8D798D-D945-3BDD-03DA-897612A2A1C2}"/>
              </a:ext>
            </a:extLst>
          </p:cNvPr>
          <p:cNvSpPr/>
          <p:nvPr/>
        </p:nvSpPr>
        <p:spPr>
          <a:xfrm>
            <a:off x="472007" y="2647920"/>
            <a:ext cx="5605813" cy="36328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CE54861-05CF-5232-CC28-347E7F125715}"/>
              </a:ext>
            </a:extLst>
          </p:cNvPr>
          <p:cNvSpPr/>
          <p:nvPr/>
        </p:nvSpPr>
        <p:spPr>
          <a:xfrm>
            <a:off x="0" y="1107803"/>
            <a:ext cx="121920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schemeClr val="tx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Example: </a:t>
            </a:r>
            <a:br>
              <a:rPr lang="en-US" dirty="0"/>
            </a:br>
            <a:r>
              <a:rPr lang="en-US" dirty="0"/>
              <a:t>Charter Mission Statement, Business Outcomes and Values</a:t>
            </a:r>
          </a:p>
        </p:txBody>
      </p:sp>
      <p:sp>
        <p:nvSpPr>
          <p:cNvPr id="2" name="Google Shape;307;p15">
            <a:extLst>
              <a:ext uri="{FF2B5EF4-FFF2-40B4-BE49-F238E27FC236}">
                <a16:creationId xmlns:a16="http://schemas.microsoft.com/office/drawing/2014/main" id="{A22DC185-20DE-84EB-0DCA-B1B975033271}"/>
              </a:ext>
            </a:extLst>
          </p:cNvPr>
          <p:cNvSpPr txBox="1"/>
          <p:nvPr/>
        </p:nvSpPr>
        <p:spPr>
          <a:xfrm>
            <a:off x="609600" y="1216422"/>
            <a:ext cx="11701554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venir"/>
              <a:buNone/>
            </a:pPr>
            <a:r>
              <a:rPr lang="en-US" sz="1800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venue Operations Mission Statement: Optimize the efficiency and success of the commercial team with focus on business outcomes via shared values</a:t>
            </a:r>
            <a:endParaRPr sz="1800" dirty="0"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3" name="Google Shape;306;p15">
            <a:extLst>
              <a:ext uri="{FF2B5EF4-FFF2-40B4-BE49-F238E27FC236}">
                <a16:creationId xmlns:a16="http://schemas.microsoft.com/office/drawing/2014/main" id="{19BC1048-CBB5-FEED-2E46-19D03F8C4ECC}"/>
              </a:ext>
            </a:extLst>
          </p:cNvPr>
          <p:cNvSpPr txBox="1"/>
          <p:nvPr/>
        </p:nvSpPr>
        <p:spPr>
          <a:xfrm>
            <a:off x="964606" y="2212104"/>
            <a:ext cx="2441915" cy="35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venir"/>
              <a:buNone/>
            </a:pPr>
            <a:r>
              <a:rPr lang="en-US" sz="2000" b="1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Business Outcomes</a:t>
            </a:r>
            <a:endParaRPr sz="18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grpSp>
        <p:nvGrpSpPr>
          <p:cNvPr id="4" name="Google Shape;288;p15">
            <a:extLst>
              <a:ext uri="{FF2B5EF4-FFF2-40B4-BE49-F238E27FC236}">
                <a16:creationId xmlns:a16="http://schemas.microsoft.com/office/drawing/2014/main" id="{CB4C9B68-6B8B-20A6-54D3-1A9EEF77BD8A}"/>
              </a:ext>
            </a:extLst>
          </p:cNvPr>
          <p:cNvGrpSpPr/>
          <p:nvPr/>
        </p:nvGrpSpPr>
        <p:grpSpPr>
          <a:xfrm>
            <a:off x="600985" y="2741195"/>
            <a:ext cx="5347855" cy="3705467"/>
            <a:chOff x="0" y="42197"/>
            <a:chExt cx="5916567" cy="3993805"/>
          </a:xfrm>
        </p:grpSpPr>
        <p:sp>
          <p:nvSpPr>
            <p:cNvPr id="5" name="Google Shape;289;p15">
              <a:extLst>
                <a:ext uri="{FF2B5EF4-FFF2-40B4-BE49-F238E27FC236}">
                  <a16:creationId xmlns:a16="http://schemas.microsoft.com/office/drawing/2014/main" id="{72BDE96B-2703-2586-2133-EB4B2125EADB}"/>
                </a:ext>
              </a:extLst>
            </p:cNvPr>
            <p:cNvSpPr txBox="1"/>
            <p:nvPr/>
          </p:nvSpPr>
          <p:spPr>
            <a:xfrm>
              <a:off x="11090" y="42197"/>
              <a:ext cx="5880337" cy="2271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53325" tIns="53325" rIns="53325" bIns="5332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r>
                <a:rPr lang="en-US" sz="1400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1. Get Back to Growth</a:t>
              </a:r>
              <a:endParaRPr sz="1800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" name="Google Shape;290;p15">
              <a:extLst>
                <a:ext uri="{FF2B5EF4-FFF2-40B4-BE49-F238E27FC236}">
                  <a16:creationId xmlns:a16="http://schemas.microsoft.com/office/drawing/2014/main" id="{6C00E710-5A32-1C9C-4FF9-A81092ACC5C7}"/>
                </a:ext>
              </a:extLst>
            </p:cNvPr>
            <p:cNvSpPr/>
            <p:nvPr/>
          </p:nvSpPr>
          <p:spPr>
            <a:xfrm>
              <a:off x="0" y="258282"/>
              <a:ext cx="5902517" cy="5464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" name="Google Shape;291;p15">
              <a:extLst>
                <a:ext uri="{FF2B5EF4-FFF2-40B4-BE49-F238E27FC236}">
                  <a16:creationId xmlns:a16="http://schemas.microsoft.com/office/drawing/2014/main" id="{081CA904-7CCE-59C4-5AE3-EC6E190DCE8E}"/>
                </a:ext>
              </a:extLst>
            </p:cNvPr>
            <p:cNvSpPr txBox="1"/>
            <p:nvPr/>
          </p:nvSpPr>
          <p:spPr>
            <a:xfrm>
              <a:off x="0" y="258282"/>
              <a:ext cx="5902517" cy="5464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400" tIns="13950" rIns="78225" bIns="13950" anchor="t" anchorCtr="0">
              <a:noAutofit/>
            </a:bodyPr>
            <a:lstStyle/>
            <a:p>
              <a:pPr marL="57150" marR="0" lvl="1" indent="-698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Char char="•"/>
              </a:pPr>
              <a:r>
                <a:rPr lang="en-US" sz="1100" b="0" i="0" u="none" strike="noStrike" cap="none" dirty="0">
                  <a:solidFill>
                    <a:schemeClr val="dk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Increase new logo growth through account segmentation and planning</a:t>
              </a:r>
              <a:endParaRPr sz="1800" b="0" i="0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  <a:p>
              <a:pPr marL="57150" marR="0" lvl="1" indent="-69850" algn="l" rtl="0">
                <a:lnSpc>
                  <a:spcPct val="90000"/>
                </a:lnSpc>
                <a:spcBef>
                  <a:spcPts val="22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Char char="•"/>
              </a:pPr>
              <a:r>
                <a:rPr lang="en-US" sz="1100" b="0" i="0" u="none" strike="noStrike" cap="none" dirty="0">
                  <a:solidFill>
                    <a:schemeClr val="dk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Win big at existing large customers through buying center expansion using Big Deal Reviews, QBRs, and Data Analytics</a:t>
              </a:r>
              <a:endParaRPr sz="1800" b="0" i="0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" name="Google Shape;292;p15">
              <a:extLst>
                <a:ext uri="{FF2B5EF4-FFF2-40B4-BE49-F238E27FC236}">
                  <a16:creationId xmlns:a16="http://schemas.microsoft.com/office/drawing/2014/main" id="{98D100FC-6A0C-42A1-F3C5-C38D2ED05B7B}"/>
                </a:ext>
              </a:extLst>
            </p:cNvPr>
            <p:cNvSpPr txBox="1"/>
            <p:nvPr/>
          </p:nvSpPr>
          <p:spPr>
            <a:xfrm>
              <a:off x="11091" y="815853"/>
              <a:ext cx="5880336" cy="20499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53325" tIns="53325" rIns="53325" bIns="53325" anchor="ctr" anchorCtr="0">
              <a:noAutofit/>
            </a:bodyPr>
            <a:lstStyle/>
            <a:p>
              <a:pPr lvl="0">
                <a:lnSpc>
                  <a:spcPct val="90000"/>
                </a:lnSpc>
                <a:buClr>
                  <a:schemeClr val="lt1"/>
                </a:buClr>
                <a:buSzPts val="1400"/>
              </a:pPr>
              <a:r>
                <a:rPr lang="en-US" sz="1400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2. Maximize Selling Time</a:t>
              </a:r>
              <a:endParaRPr sz="1800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" name="Google Shape;293;p15">
              <a:extLst>
                <a:ext uri="{FF2B5EF4-FFF2-40B4-BE49-F238E27FC236}">
                  <a16:creationId xmlns:a16="http://schemas.microsoft.com/office/drawing/2014/main" id="{172D8DC7-D857-5213-8BCC-F0177745BF72}"/>
                </a:ext>
              </a:extLst>
            </p:cNvPr>
            <p:cNvSpPr/>
            <p:nvPr/>
          </p:nvSpPr>
          <p:spPr>
            <a:xfrm>
              <a:off x="0" y="1031937"/>
              <a:ext cx="5902517" cy="683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" name="Google Shape;294;p15">
              <a:extLst>
                <a:ext uri="{FF2B5EF4-FFF2-40B4-BE49-F238E27FC236}">
                  <a16:creationId xmlns:a16="http://schemas.microsoft.com/office/drawing/2014/main" id="{352357FC-44E0-B925-F5DE-E08ABDDA4044}"/>
                </a:ext>
              </a:extLst>
            </p:cNvPr>
            <p:cNvSpPr txBox="1"/>
            <p:nvPr/>
          </p:nvSpPr>
          <p:spPr>
            <a:xfrm>
              <a:off x="0" y="1031937"/>
              <a:ext cx="5902517" cy="683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400" tIns="13950" rIns="78225" bIns="13950" anchor="t" anchorCtr="0">
              <a:noAutofit/>
            </a:bodyPr>
            <a:lstStyle/>
            <a:p>
              <a:pPr marL="57150" marR="0" lvl="1" indent="-698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Char char="•"/>
              </a:pPr>
              <a:r>
                <a:rPr lang="en-US" sz="1100" b="0" i="0" u="none" strike="noStrike" cap="none" dirty="0">
                  <a:solidFill>
                    <a:schemeClr val="dk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Revenue Ops can implement processes to improve efficiencies for the sales org (selling time)</a:t>
              </a:r>
              <a:endParaRPr sz="1800" b="0" i="0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  <a:p>
              <a:pPr marL="57150" marR="0" lvl="1" indent="-69850" algn="l" rtl="0">
                <a:lnSpc>
                  <a:spcPct val="90000"/>
                </a:lnSpc>
                <a:spcBef>
                  <a:spcPts val="22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Char char="•"/>
              </a:pPr>
              <a:r>
                <a:rPr lang="en-US" sz="1100" b="0" i="0" u="none" strike="noStrike" cap="none" dirty="0">
                  <a:solidFill>
                    <a:schemeClr val="dk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By optimizing the coverage of the sales team via account segmentation and territory design, Sales heads work on the right things increasing productivity</a:t>
              </a:r>
              <a:endParaRPr sz="1800" b="0" i="0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" name="Google Shape;295;p15">
              <a:extLst>
                <a:ext uri="{FF2B5EF4-FFF2-40B4-BE49-F238E27FC236}">
                  <a16:creationId xmlns:a16="http://schemas.microsoft.com/office/drawing/2014/main" id="{A40F49F1-295D-8DE2-7B68-C6C12BCD042A}"/>
                </a:ext>
              </a:extLst>
            </p:cNvPr>
            <p:cNvSpPr txBox="1"/>
            <p:nvPr/>
          </p:nvSpPr>
          <p:spPr>
            <a:xfrm>
              <a:off x="11091" y="1726127"/>
              <a:ext cx="5880336" cy="21608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53325" tIns="53325" rIns="53325" bIns="5332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r>
                <a:rPr lang="en-US" sz="1400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3. Increase Sales Visibility, Planning and Decision Making</a:t>
              </a:r>
              <a:endParaRPr sz="1800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" name="Google Shape;296;p15">
              <a:extLst>
                <a:ext uri="{FF2B5EF4-FFF2-40B4-BE49-F238E27FC236}">
                  <a16:creationId xmlns:a16="http://schemas.microsoft.com/office/drawing/2014/main" id="{1CCF191F-A945-E001-875E-C2FB6982263A}"/>
                </a:ext>
              </a:extLst>
            </p:cNvPr>
            <p:cNvSpPr/>
            <p:nvPr/>
          </p:nvSpPr>
          <p:spPr>
            <a:xfrm>
              <a:off x="0" y="1942212"/>
              <a:ext cx="5902517" cy="5464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" name="Google Shape;297;p15">
              <a:extLst>
                <a:ext uri="{FF2B5EF4-FFF2-40B4-BE49-F238E27FC236}">
                  <a16:creationId xmlns:a16="http://schemas.microsoft.com/office/drawing/2014/main" id="{EAB5B6CD-BDB2-FC43-F5E8-82B6E4BE04FA}"/>
                </a:ext>
              </a:extLst>
            </p:cNvPr>
            <p:cNvSpPr txBox="1"/>
            <p:nvPr/>
          </p:nvSpPr>
          <p:spPr>
            <a:xfrm>
              <a:off x="0" y="1942212"/>
              <a:ext cx="5902517" cy="5464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400" tIns="13950" rIns="78225" bIns="13950" anchor="t" anchorCtr="0">
              <a:noAutofit/>
            </a:bodyPr>
            <a:lstStyle/>
            <a:p>
              <a:pPr marL="57150" marR="0" lvl="1" indent="-698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Char char="•"/>
              </a:pPr>
              <a:r>
                <a:rPr lang="en-US" sz="1100" b="0" i="0" u="none" strike="noStrike" cap="none">
                  <a:solidFill>
                    <a:schemeClr val="dk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By improving data strategies and implementing the right forecasting, pipeline and QBR processes and driving the sales process, forecast accuracy, departmental interlock and understanding of the business improves</a:t>
              </a:r>
              <a:endParaRPr sz="1800" b="0" i="0" u="none" strike="noStrike" cap="none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" name="Google Shape;298;p15">
              <a:extLst>
                <a:ext uri="{FF2B5EF4-FFF2-40B4-BE49-F238E27FC236}">
                  <a16:creationId xmlns:a16="http://schemas.microsoft.com/office/drawing/2014/main" id="{0526170B-5AC4-5855-787F-005C02E3DCDC}"/>
                </a:ext>
              </a:extLst>
            </p:cNvPr>
            <p:cNvSpPr txBox="1"/>
            <p:nvPr/>
          </p:nvSpPr>
          <p:spPr>
            <a:xfrm>
              <a:off x="11090" y="2499782"/>
              <a:ext cx="5880337" cy="21608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53325" tIns="53325" rIns="53325" bIns="5332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r>
                <a:rPr lang="en-US" sz="1400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4. Optimize ROI of the Selling System</a:t>
              </a:r>
              <a:endParaRPr sz="1800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" name="Google Shape;299;p15">
              <a:extLst>
                <a:ext uri="{FF2B5EF4-FFF2-40B4-BE49-F238E27FC236}">
                  <a16:creationId xmlns:a16="http://schemas.microsoft.com/office/drawing/2014/main" id="{F6BFFA58-5246-2B3C-897E-80069D24CCAE}"/>
                </a:ext>
              </a:extLst>
            </p:cNvPr>
            <p:cNvSpPr/>
            <p:nvPr/>
          </p:nvSpPr>
          <p:spPr>
            <a:xfrm>
              <a:off x="0" y="2715867"/>
              <a:ext cx="5902517" cy="5464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" name="Google Shape;300;p15">
              <a:extLst>
                <a:ext uri="{FF2B5EF4-FFF2-40B4-BE49-F238E27FC236}">
                  <a16:creationId xmlns:a16="http://schemas.microsoft.com/office/drawing/2014/main" id="{22182C33-0082-320A-3AEB-50303BB48051}"/>
                </a:ext>
              </a:extLst>
            </p:cNvPr>
            <p:cNvSpPr txBox="1"/>
            <p:nvPr/>
          </p:nvSpPr>
          <p:spPr>
            <a:xfrm>
              <a:off x="0" y="2715867"/>
              <a:ext cx="5902517" cy="5464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400" tIns="13950" rIns="78225" bIns="13950" anchor="t" anchorCtr="0">
              <a:noAutofit/>
            </a:bodyPr>
            <a:lstStyle/>
            <a:p>
              <a:pPr marL="57150" marR="0" lvl="1" indent="-698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Char char="•"/>
              </a:pPr>
              <a:r>
                <a:rPr lang="en-US" sz="1100" b="0" i="0" u="none" strike="noStrike" cap="none" dirty="0">
                  <a:solidFill>
                    <a:schemeClr val="dk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Through the use of data and analytics, determine the optimal allocation of budget and resources to maximize sales results</a:t>
              </a:r>
              <a:endParaRPr sz="1800" b="0" i="0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" name="Google Shape;301;p15">
              <a:extLst>
                <a:ext uri="{FF2B5EF4-FFF2-40B4-BE49-F238E27FC236}">
                  <a16:creationId xmlns:a16="http://schemas.microsoft.com/office/drawing/2014/main" id="{E3CCCAE9-6B42-4491-157A-27BD35D56BB7}"/>
                </a:ext>
              </a:extLst>
            </p:cNvPr>
            <p:cNvSpPr txBox="1"/>
            <p:nvPr/>
          </p:nvSpPr>
          <p:spPr>
            <a:xfrm>
              <a:off x="11090" y="3113009"/>
              <a:ext cx="5880337" cy="20499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53325" tIns="53325" rIns="53325" bIns="5332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r>
                <a:rPr lang="en-US" sz="1400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5. Build Scalability </a:t>
              </a:r>
              <a:endParaRPr sz="1800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" name="Google Shape;302;p15">
              <a:extLst>
                <a:ext uri="{FF2B5EF4-FFF2-40B4-BE49-F238E27FC236}">
                  <a16:creationId xmlns:a16="http://schemas.microsoft.com/office/drawing/2014/main" id="{9BBDC418-B4EF-A71C-FF52-FDB4E43C8D17}"/>
                </a:ext>
              </a:extLst>
            </p:cNvPr>
            <p:cNvSpPr/>
            <p:nvPr/>
          </p:nvSpPr>
          <p:spPr>
            <a:xfrm>
              <a:off x="0" y="3489522"/>
              <a:ext cx="5902517" cy="5464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" name="Google Shape;303;p15">
              <a:extLst>
                <a:ext uri="{FF2B5EF4-FFF2-40B4-BE49-F238E27FC236}">
                  <a16:creationId xmlns:a16="http://schemas.microsoft.com/office/drawing/2014/main" id="{B716C48C-E293-8120-E382-2E5BCA2F8DE5}"/>
                </a:ext>
              </a:extLst>
            </p:cNvPr>
            <p:cNvSpPr txBox="1"/>
            <p:nvPr/>
          </p:nvSpPr>
          <p:spPr>
            <a:xfrm>
              <a:off x="0" y="3329094"/>
              <a:ext cx="5916567" cy="5464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400" tIns="13950" rIns="78225" bIns="13950" anchor="t" anchorCtr="0">
              <a:noAutofit/>
            </a:bodyPr>
            <a:lstStyle/>
            <a:p>
              <a:pPr marL="57150" marR="0" lvl="1" indent="-698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Char char="•"/>
              </a:pPr>
              <a:r>
                <a:rPr lang="en-US" sz="1100" b="0" i="0" u="none" strike="noStrike" cap="none">
                  <a:solidFill>
                    <a:schemeClr val="dk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Leveraging a charter, standard process definitions, and Data/Systems automation, Revenue Ops reduces admin while building global scalability and maintaining a local flavor</a:t>
              </a:r>
              <a:endParaRPr sz="1800" b="0" i="0" u="none" strike="noStrike" cap="none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21" name="Google Shape;305;p15">
            <a:extLst>
              <a:ext uri="{FF2B5EF4-FFF2-40B4-BE49-F238E27FC236}">
                <a16:creationId xmlns:a16="http://schemas.microsoft.com/office/drawing/2014/main" id="{A22EE5A9-BDDA-2B6B-695C-6A834FE66E4E}"/>
              </a:ext>
            </a:extLst>
          </p:cNvPr>
          <p:cNvSpPr txBox="1"/>
          <p:nvPr/>
        </p:nvSpPr>
        <p:spPr>
          <a:xfrm>
            <a:off x="6570419" y="2228553"/>
            <a:ext cx="880108" cy="305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venir"/>
              <a:buNone/>
            </a:pPr>
            <a:r>
              <a:rPr lang="en-US" sz="2000" b="1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Values</a:t>
            </a:r>
            <a:endParaRPr sz="18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pic>
        <p:nvPicPr>
          <p:cNvPr id="22" name="Google Shape;304;p15">
            <a:extLst>
              <a:ext uri="{FF2B5EF4-FFF2-40B4-BE49-F238E27FC236}">
                <a16:creationId xmlns:a16="http://schemas.microsoft.com/office/drawing/2014/main" id="{BB11F7E8-0928-1057-5AAA-2030A4F892B3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r="19373"/>
          <a:stretch/>
        </p:blipFill>
        <p:spPr>
          <a:xfrm>
            <a:off x="6160477" y="2695871"/>
            <a:ext cx="5712868" cy="3536992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Chevron 26">
            <a:extLst>
              <a:ext uri="{FF2B5EF4-FFF2-40B4-BE49-F238E27FC236}">
                <a16:creationId xmlns:a16="http://schemas.microsoft.com/office/drawing/2014/main" id="{ECD1756F-3F04-6E64-9ECE-D0C6553CFB1B}"/>
              </a:ext>
            </a:extLst>
          </p:cNvPr>
          <p:cNvSpPr/>
          <p:nvPr/>
        </p:nvSpPr>
        <p:spPr>
          <a:xfrm>
            <a:off x="484259" y="2222687"/>
            <a:ext cx="304800" cy="316885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Chevron 27">
            <a:extLst>
              <a:ext uri="{FF2B5EF4-FFF2-40B4-BE49-F238E27FC236}">
                <a16:creationId xmlns:a16="http://schemas.microsoft.com/office/drawing/2014/main" id="{93B27792-82F3-CD15-2B97-D0C72A2C559B}"/>
              </a:ext>
            </a:extLst>
          </p:cNvPr>
          <p:cNvSpPr/>
          <p:nvPr/>
        </p:nvSpPr>
        <p:spPr>
          <a:xfrm>
            <a:off x="6100967" y="2242746"/>
            <a:ext cx="304800" cy="316885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5370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Example: </a:t>
            </a:r>
            <a:br>
              <a:rPr lang="en-US" dirty="0"/>
            </a:br>
            <a:r>
              <a:rPr lang="en-US" dirty="0"/>
              <a:t>Core Values of Revenue Operations</a:t>
            </a:r>
          </a:p>
        </p:txBody>
      </p:sp>
      <p:grpSp>
        <p:nvGrpSpPr>
          <p:cNvPr id="4" name="Google Shape;314;p16">
            <a:extLst>
              <a:ext uri="{FF2B5EF4-FFF2-40B4-BE49-F238E27FC236}">
                <a16:creationId xmlns:a16="http://schemas.microsoft.com/office/drawing/2014/main" id="{263529F9-DE6F-9172-E542-AFFEEDFF8309}"/>
              </a:ext>
            </a:extLst>
          </p:cNvPr>
          <p:cNvGrpSpPr/>
          <p:nvPr/>
        </p:nvGrpSpPr>
        <p:grpSpPr>
          <a:xfrm>
            <a:off x="583769" y="1934796"/>
            <a:ext cx="10714558" cy="4651200"/>
            <a:chOff x="-28823" y="736767"/>
            <a:chExt cx="11955504" cy="4651200"/>
          </a:xfrm>
        </p:grpSpPr>
        <p:sp>
          <p:nvSpPr>
            <p:cNvPr id="5" name="Google Shape;315;p16">
              <a:extLst>
                <a:ext uri="{FF2B5EF4-FFF2-40B4-BE49-F238E27FC236}">
                  <a16:creationId xmlns:a16="http://schemas.microsoft.com/office/drawing/2014/main" id="{76ACEC3E-5E4E-8709-5054-DEADB484CF89}"/>
                </a:ext>
              </a:extLst>
            </p:cNvPr>
            <p:cNvSpPr/>
            <p:nvPr/>
          </p:nvSpPr>
          <p:spPr>
            <a:xfrm>
              <a:off x="0" y="736767"/>
              <a:ext cx="11893550" cy="6292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" name="Google Shape;316;p16">
              <a:extLst>
                <a:ext uri="{FF2B5EF4-FFF2-40B4-BE49-F238E27FC236}">
                  <a16:creationId xmlns:a16="http://schemas.microsoft.com/office/drawing/2014/main" id="{7D607B9A-27D6-DE11-2523-1CFBD089F58C}"/>
                </a:ext>
              </a:extLst>
            </p:cNvPr>
            <p:cNvSpPr txBox="1"/>
            <p:nvPr/>
          </p:nvSpPr>
          <p:spPr>
            <a:xfrm>
              <a:off x="-28823" y="813508"/>
              <a:ext cx="11893550" cy="3618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77600" tIns="22850" rIns="128000" bIns="22850" anchor="t" anchorCtr="0">
              <a:noAutofit/>
            </a:bodyPr>
            <a:lstStyle/>
            <a:p>
              <a:pPr marL="171450" marR="0" lvl="1" indent="-1714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r>
                <a:rPr lang="en-US" sz="1800" b="0" i="0" u="none" strike="noStrike" cap="none" dirty="0">
                  <a:solidFill>
                    <a:schemeClr val="dk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    Define a customer based selling process and live by it</a:t>
              </a:r>
              <a:endParaRPr sz="1800" b="0" i="0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" name="Google Shape;317;p16">
              <a:extLst>
                <a:ext uri="{FF2B5EF4-FFF2-40B4-BE49-F238E27FC236}">
                  <a16:creationId xmlns:a16="http://schemas.microsoft.com/office/drawing/2014/main" id="{F564BE78-AA08-09CD-5720-EE8D73921395}"/>
                </a:ext>
              </a:extLst>
            </p:cNvPr>
            <p:cNvSpPr txBox="1"/>
            <p:nvPr/>
          </p:nvSpPr>
          <p:spPr>
            <a:xfrm>
              <a:off x="34727" y="1208284"/>
              <a:ext cx="11824098" cy="65792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76200" tIns="76200" rIns="76200" bIns="762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000"/>
                <a:buFont typeface="Arial"/>
                <a:buNone/>
              </a:pPr>
              <a:r>
                <a:rPr lang="en-US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          2. Be Fact Based</a:t>
              </a:r>
              <a:endParaRPr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" name="Google Shape;318;p16">
              <a:extLst>
                <a:ext uri="{FF2B5EF4-FFF2-40B4-BE49-F238E27FC236}">
                  <a16:creationId xmlns:a16="http://schemas.microsoft.com/office/drawing/2014/main" id="{853FBC25-CE6E-7780-ACAA-CE9F6FC8D14E}"/>
                </a:ext>
              </a:extLst>
            </p:cNvPr>
            <p:cNvSpPr/>
            <p:nvPr/>
          </p:nvSpPr>
          <p:spPr>
            <a:xfrm>
              <a:off x="0" y="2077407"/>
              <a:ext cx="11893550" cy="6292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" name="Google Shape;319;p16">
              <a:extLst>
                <a:ext uri="{FF2B5EF4-FFF2-40B4-BE49-F238E27FC236}">
                  <a16:creationId xmlns:a16="http://schemas.microsoft.com/office/drawing/2014/main" id="{A4A270C1-2A18-136E-50A9-D5A6CDA98031}"/>
                </a:ext>
              </a:extLst>
            </p:cNvPr>
            <p:cNvSpPr txBox="1"/>
            <p:nvPr/>
          </p:nvSpPr>
          <p:spPr>
            <a:xfrm>
              <a:off x="0" y="1977280"/>
              <a:ext cx="11893550" cy="37446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77600" tIns="22850" rIns="128000" bIns="22850" anchor="t" anchorCtr="0">
              <a:noAutofit/>
            </a:bodyPr>
            <a:lstStyle/>
            <a:p>
              <a:pPr marL="171450" marR="0" lvl="1" indent="-1714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r>
                <a:rPr lang="en-US" sz="1800" b="0" i="0" u="none" strike="noStrike" cap="none" dirty="0">
                  <a:solidFill>
                    <a:schemeClr val="dk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    Analyze data for insights and proactively drive the business</a:t>
              </a:r>
              <a:endParaRPr sz="1800" b="0" i="0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" name="Google Shape;320;p16">
              <a:extLst>
                <a:ext uri="{FF2B5EF4-FFF2-40B4-BE49-F238E27FC236}">
                  <a16:creationId xmlns:a16="http://schemas.microsoft.com/office/drawing/2014/main" id="{9BB7C7A8-7FA6-4502-5F36-C81A3C18C678}"/>
                </a:ext>
              </a:extLst>
            </p:cNvPr>
            <p:cNvSpPr txBox="1"/>
            <p:nvPr/>
          </p:nvSpPr>
          <p:spPr>
            <a:xfrm>
              <a:off x="34726" y="2404519"/>
              <a:ext cx="11824098" cy="6419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76200" tIns="76200" rIns="76200" bIns="762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000"/>
                <a:buFont typeface="Arial"/>
                <a:buNone/>
              </a:pPr>
              <a:r>
                <a:rPr lang="en-US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          3. Focus on Integrity</a:t>
              </a:r>
              <a:endParaRPr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" name="Google Shape;321;p16">
              <a:extLst>
                <a:ext uri="{FF2B5EF4-FFF2-40B4-BE49-F238E27FC236}">
                  <a16:creationId xmlns:a16="http://schemas.microsoft.com/office/drawing/2014/main" id="{FF4D9827-01C9-A74C-8661-619BA38ED8A0}"/>
                </a:ext>
              </a:extLst>
            </p:cNvPr>
            <p:cNvSpPr/>
            <p:nvPr/>
          </p:nvSpPr>
          <p:spPr>
            <a:xfrm>
              <a:off x="0" y="3418047"/>
              <a:ext cx="11893550" cy="6292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" name="Google Shape;322;p16">
              <a:extLst>
                <a:ext uri="{FF2B5EF4-FFF2-40B4-BE49-F238E27FC236}">
                  <a16:creationId xmlns:a16="http://schemas.microsoft.com/office/drawing/2014/main" id="{792F5A87-1C18-6E7E-B708-AB6CC8351238}"/>
                </a:ext>
              </a:extLst>
            </p:cNvPr>
            <p:cNvSpPr txBox="1"/>
            <p:nvPr/>
          </p:nvSpPr>
          <p:spPr>
            <a:xfrm>
              <a:off x="0" y="3207740"/>
              <a:ext cx="11508494" cy="4278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77600" tIns="22850" rIns="128000" bIns="22850" anchor="t" anchorCtr="0">
              <a:noAutofit/>
            </a:bodyPr>
            <a:lstStyle/>
            <a:p>
              <a:pPr marL="171450" marR="0" lvl="1" indent="-1714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r>
                <a:rPr lang="en-US" sz="1800" b="0" i="0" u="none" strike="noStrike" cap="none" dirty="0">
                  <a:solidFill>
                    <a:schemeClr val="dk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    Accountable for the accuracy and availability of data and insights</a:t>
              </a:r>
              <a:endParaRPr sz="1800" b="0" i="0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" name="Google Shape;323;p16">
              <a:extLst>
                <a:ext uri="{FF2B5EF4-FFF2-40B4-BE49-F238E27FC236}">
                  <a16:creationId xmlns:a16="http://schemas.microsoft.com/office/drawing/2014/main" id="{F0FD7D5B-1522-2EE4-3FBC-4F8A2158E9B9}"/>
                </a:ext>
              </a:extLst>
            </p:cNvPr>
            <p:cNvSpPr txBox="1"/>
            <p:nvPr/>
          </p:nvSpPr>
          <p:spPr>
            <a:xfrm>
              <a:off x="34726" y="3584730"/>
              <a:ext cx="11824098" cy="6419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76200" tIns="76200" rIns="76200" bIns="762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000"/>
                <a:buFont typeface="Arial"/>
                <a:buNone/>
              </a:pPr>
              <a:r>
                <a:rPr lang="en-US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          4. Continuously Improve</a:t>
              </a:r>
              <a:endParaRPr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" name="Google Shape;324;p16">
              <a:extLst>
                <a:ext uri="{FF2B5EF4-FFF2-40B4-BE49-F238E27FC236}">
                  <a16:creationId xmlns:a16="http://schemas.microsoft.com/office/drawing/2014/main" id="{E5A7ACB0-4C24-0C9F-9CC0-A025637C242E}"/>
                </a:ext>
              </a:extLst>
            </p:cNvPr>
            <p:cNvSpPr/>
            <p:nvPr/>
          </p:nvSpPr>
          <p:spPr>
            <a:xfrm>
              <a:off x="0" y="4758687"/>
              <a:ext cx="11893550" cy="6292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" name="Google Shape;325;p16">
              <a:extLst>
                <a:ext uri="{FF2B5EF4-FFF2-40B4-BE49-F238E27FC236}">
                  <a16:creationId xmlns:a16="http://schemas.microsoft.com/office/drawing/2014/main" id="{845522D8-5878-CF36-1D17-B9B0A22BC837}"/>
                </a:ext>
              </a:extLst>
            </p:cNvPr>
            <p:cNvSpPr txBox="1"/>
            <p:nvPr/>
          </p:nvSpPr>
          <p:spPr>
            <a:xfrm>
              <a:off x="33131" y="4370154"/>
              <a:ext cx="11893550" cy="3180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77600" tIns="22850" rIns="128000" bIns="22850" anchor="t" anchorCtr="0">
              <a:noAutofit/>
            </a:bodyPr>
            <a:lstStyle/>
            <a:p>
              <a:pPr marL="171450" marR="0" lvl="1" indent="-1714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r>
                <a:rPr lang="en-US" sz="1800" b="0" i="0" u="none" strike="noStrike" cap="none" dirty="0">
                  <a:solidFill>
                    <a:schemeClr val="dk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    Always looking for ways to improve sales leveraging internal and external best practices</a:t>
              </a:r>
              <a:endParaRPr sz="1800" b="0" i="0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17" name="Google Shape;326;p16">
            <a:extLst>
              <a:ext uri="{FF2B5EF4-FFF2-40B4-BE49-F238E27FC236}">
                <a16:creationId xmlns:a16="http://schemas.microsoft.com/office/drawing/2014/main" id="{C03138A5-01A8-49CB-F9E6-8D9F232DEDA8}"/>
              </a:ext>
            </a:extLst>
          </p:cNvPr>
          <p:cNvSpPr txBox="1"/>
          <p:nvPr/>
        </p:nvSpPr>
        <p:spPr>
          <a:xfrm>
            <a:off x="609600" y="1289817"/>
            <a:ext cx="10659035" cy="64190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6200" tIns="76200" rIns="76200" bIns="762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</a:pPr>
            <a:r>
              <a:rPr lang="en-US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           1. Set the Standard</a:t>
            </a:r>
            <a:endParaRPr dirty="0">
              <a:solidFill>
                <a:schemeClr val="bg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18" name="Chevron 17">
            <a:extLst>
              <a:ext uri="{FF2B5EF4-FFF2-40B4-BE49-F238E27FC236}">
                <a16:creationId xmlns:a16="http://schemas.microsoft.com/office/drawing/2014/main" id="{CBA2A668-C7C5-8839-760C-E580187B4727}"/>
              </a:ext>
            </a:extLst>
          </p:cNvPr>
          <p:cNvSpPr/>
          <p:nvPr/>
        </p:nvSpPr>
        <p:spPr>
          <a:xfrm>
            <a:off x="639292" y="1286746"/>
            <a:ext cx="568146" cy="638263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Chevron 22">
            <a:extLst>
              <a:ext uri="{FF2B5EF4-FFF2-40B4-BE49-F238E27FC236}">
                <a16:creationId xmlns:a16="http://schemas.microsoft.com/office/drawing/2014/main" id="{527155D7-86AD-9946-AD85-F93FE515EDDB}"/>
              </a:ext>
            </a:extLst>
          </p:cNvPr>
          <p:cNvSpPr/>
          <p:nvPr/>
        </p:nvSpPr>
        <p:spPr>
          <a:xfrm>
            <a:off x="639292" y="2413392"/>
            <a:ext cx="568146" cy="638263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Chevron 23">
            <a:extLst>
              <a:ext uri="{FF2B5EF4-FFF2-40B4-BE49-F238E27FC236}">
                <a16:creationId xmlns:a16="http://schemas.microsoft.com/office/drawing/2014/main" id="{44C77EA4-9FD3-5199-2ED9-398BA716E11D}"/>
              </a:ext>
            </a:extLst>
          </p:cNvPr>
          <p:cNvSpPr/>
          <p:nvPr/>
        </p:nvSpPr>
        <p:spPr>
          <a:xfrm>
            <a:off x="670413" y="3609822"/>
            <a:ext cx="568146" cy="638263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Chevron 24">
            <a:extLst>
              <a:ext uri="{FF2B5EF4-FFF2-40B4-BE49-F238E27FC236}">
                <a16:creationId xmlns:a16="http://schemas.microsoft.com/office/drawing/2014/main" id="{5057935D-7818-6EFC-9F27-03168C4FBDC6}"/>
              </a:ext>
            </a:extLst>
          </p:cNvPr>
          <p:cNvSpPr/>
          <p:nvPr/>
        </p:nvSpPr>
        <p:spPr>
          <a:xfrm>
            <a:off x="639292" y="4786404"/>
            <a:ext cx="568146" cy="638263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352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Example: Core Accountabilities of Revenue Operations</a:t>
            </a:r>
          </a:p>
        </p:txBody>
      </p:sp>
      <p:grpSp>
        <p:nvGrpSpPr>
          <p:cNvPr id="2" name="Google Shape;332;p17">
            <a:extLst>
              <a:ext uri="{FF2B5EF4-FFF2-40B4-BE49-F238E27FC236}">
                <a16:creationId xmlns:a16="http://schemas.microsoft.com/office/drawing/2014/main" id="{A7FA3BD8-AEB8-0087-E638-5E0B285CE6F8}"/>
              </a:ext>
            </a:extLst>
          </p:cNvPr>
          <p:cNvGrpSpPr/>
          <p:nvPr/>
        </p:nvGrpSpPr>
        <p:grpSpPr>
          <a:xfrm>
            <a:off x="655429" y="1234440"/>
            <a:ext cx="4883158" cy="5119687"/>
            <a:chOff x="1042189" y="0"/>
            <a:chExt cx="4883158" cy="5119687"/>
          </a:xfrm>
        </p:grpSpPr>
        <p:sp>
          <p:nvSpPr>
            <p:cNvPr id="3" name="Google Shape;333;p17">
              <a:extLst>
                <a:ext uri="{FF2B5EF4-FFF2-40B4-BE49-F238E27FC236}">
                  <a16:creationId xmlns:a16="http://schemas.microsoft.com/office/drawing/2014/main" id="{7355DF9D-76CC-2810-EDC7-24A66CC54F55}"/>
                </a:ext>
              </a:extLst>
            </p:cNvPr>
            <p:cNvSpPr/>
            <p:nvPr/>
          </p:nvSpPr>
          <p:spPr>
            <a:xfrm>
              <a:off x="2433889" y="1651611"/>
              <a:ext cx="2099269" cy="1815953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accent6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" name="Google Shape;334;p17">
              <a:extLst>
                <a:ext uri="{FF2B5EF4-FFF2-40B4-BE49-F238E27FC236}">
                  <a16:creationId xmlns:a16="http://schemas.microsoft.com/office/drawing/2014/main" id="{5C62390C-AB32-A2C3-6056-2A4AD296855E}"/>
                </a:ext>
              </a:extLst>
            </p:cNvPr>
            <p:cNvSpPr txBox="1"/>
            <p:nvPr/>
          </p:nvSpPr>
          <p:spPr>
            <a:xfrm>
              <a:off x="2781765" y="2515500"/>
              <a:ext cx="1403513" cy="38136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22850" tIns="22850" rIns="22850" bIns="228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r>
                <a:rPr lang="en-US" sz="1800" dirty="0">
                  <a:solidFill>
                    <a:schemeClr val="accent6"/>
                  </a:solidFill>
                  <a:latin typeface="Avenir"/>
                  <a:ea typeface="Avenir"/>
                  <a:cs typeface="Avenir"/>
                  <a:sym typeface="Avenir"/>
                </a:rPr>
                <a:t>Data Strategy</a:t>
              </a:r>
              <a:endParaRPr sz="1800" dirty="0">
                <a:solidFill>
                  <a:schemeClr val="accent6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" name="Google Shape;335;p17">
              <a:extLst>
                <a:ext uri="{FF2B5EF4-FFF2-40B4-BE49-F238E27FC236}">
                  <a16:creationId xmlns:a16="http://schemas.microsoft.com/office/drawing/2014/main" id="{2DC10909-5AB8-E56B-6368-914F3CEFCA2E}"/>
                </a:ext>
              </a:extLst>
            </p:cNvPr>
            <p:cNvSpPr/>
            <p:nvPr/>
          </p:nvSpPr>
          <p:spPr>
            <a:xfrm>
              <a:off x="2627263" y="0"/>
              <a:ext cx="1720336" cy="1488293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accent6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" name="Google Shape;336;p17">
              <a:extLst>
                <a:ext uri="{FF2B5EF4-FFF2-40B4-BE49-F238E27FC236}">
                  <a16:creationId xmlns:a16="http://schemas.microsoft.com/office/drawing/2014/main" id="{ECEF7A21-D69E-0254-1411-5FDEAFE800F3}"/>
                </a:ext>
              </a:extLst>
            </p:cNvPr>
            <p:cNvSpPr txBox="1"/>
            <p:nvPr/>
          </p:nvSpPr>
          <p:spPr>
            <a:xfrm>
              <a:off x="2924285" y="581489"/>
              <a:ext cx="1150144" cy="66671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22850" tIns="22850" rIns="22850" bIns="228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r>
                <a:rPr lang="en-US" sz="1800" dirty="0">
                  <a:solidFill>
                    <a:schemeClr val="accent6"/>
                  </a:solidFill>
                  <a:latin typeface="Avenir"/>
                  <a:ea typeface="Avenir"/>
                  <a:cs typeface="Avenir"/>
                  <a:sym typeface="Avenir"/>
                </a:rPr>
                <a:t>Systems</a:t>
              </a:r>
              <a:r>
                <a:rPr lang="en-US" sz="1800" dirty="0">
                  <a:solidFill>
                    <a:schemeClr val="bg1"/>
                  </a:solidFill>
                  <a:latin typeface="Avenir"/>
                  <a:ea typeface="Avenir"/>
                  <a:cs typeface="Avenir"/>
                  <a:sym typeface="Avenir"/>
                </a:rPr>
                <a:t> </a:t>
              </a:r>
              <a:r>
                <a:rPr lang="en-US" sz="1800" dirty="0">
                  <a:solidFill>
                    <a:schemeClr val="accent6"/>
                  </a:solidFill>
                  <a:latin typeface="Avenir"/>
                  <a:ea typeface="Avenir"/>
                  <a:cs typeface="Avenir"/>
                  <a:sym typeface="Avenir"/>
                </a:rPr>
                <a:t>Strategy</a:t>
              </a:r>
              <a:endParaRPr sz="1800" dirty="0">
                <a:solidFill>
                  <a:schemeClr val="accent6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" name="Google Shape;337;p17">
              <a:extLst>
                <a:ext uri="{FF2B5EF4-FFF2-40B4-BE49-F238E27FC236}">
                  <a16:creationId xmlns:a16="http://schemas.microsoft.com/office/drawing/2014/main" id="{4EEB659A-4DE3-2E31-CEB0-0C6E85187914}"/>
                </a:ext>
              </a:extLst>
            </p:cNvPr>
            <p:cNvSpPr/>
            <p:nvPr/>
          </p:nvSpPr>
          <p:spPr>
            <a:xfrm>
              <a:off x="4205011" y="915400"/>
              <a:ext cx="1720336" cy="1488293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 dirty="0">
                <a:solidFill>
                  <a:schemeClr val="accent6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" name="Google Shape;338;p17">
              <a:extLst>
                <a:ext uri="{FF2B5EF4-FFF2-40B4-BE49-F238E27FC236}">
                  <a16:creationId xmlns:a16="http://schemas.microsoft.com/office/drawing/2014/main" id="{F25B8B12-FB67-C53F-9E93-1D7525A3EA8E}"/>
                </a:ext>
              </a:extLst>
            </p:cNvPr>
            <p:cNvSpPr txBox="1"/>
            <p:nvPr/>
          </p:nvSpPr>
          <p:spPr>
            <a:xfrm>
              <a:off x="4462849" y="1708768"/>
              <a:ext cx="1150144" cy="36475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22850" tIns="22850" rIns="22850" bIns="228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r>
                <a:rPr lang="en-US" sz="1800" dirty="0">
                  <a:solidFill>
                    <a:schemeClr val="accent6"/>
                  </a:solidFill>
                  <a:latin typeface="Avenir"/>
                  <a:ea typeface="Avenir"/>
                  <a:cs typeface="Avenir"/>
                  <a:sym typeface="Avenir"/>
                </a:rPr>
                <a:t> </a:t>
              </a:r>
              <a:r>
                <a:rPr lang="en-US" sz="1800" dirty="0">
                  <a:solidFill>
                    <a:schemeClr val="accent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Analytics</a:t>
              </a:r>
              <a:endParaRPr sz="1800" dirty="0">
                <a:solidFill>
                  <a:schemeClr val="accent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" name="Google Shape;339;p17">
              <a:extLst>
                <a:ext uri="{FF2B5EF4-FFF2-40B4-BE49-F238E27FC236}">
                  <a16:creationId xmlns:a16="http://schemas.microsoft.com/office/drawing/2014/main" id="{49719EE3-8B9D-158E-7227-EEE9C49C25D3}"/>
                </a:ext>
              </a:extLst>
            </p:cNvPr>
            <p:cNvSpPr/>
            <p:nvPr/>
          </p:nvSpPr>
          <p:spPr>
            <a:xfrm>
              <a:off x="4205011" y="2714970"/>
              <a:ext cx="1720336" cy="1488293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accent6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" name="Google Shape;340;p17">
              <a:extLst>
                <a:ext uri="{FF2B5EF4-FFF2-40B4-BE49-F238E27FC236}">
                  <a16:creationId xmlns:a16="http://schemas.microsoft.com/office/drawing/2014/main" id="{CAD7FE61-E82B-2876-50BB-8E602A29259E}"/>
                </a:ext>
              </a:extLst>
            </p:cNvPr>
            <p:cNvSpPr txBox="1"/>
            <p:nvPr/>
          </p:nvSpPr>
          <p:spPr>
            <a:xfrm>
              <a:off x="4502731" y="3391072"/>
              <a:ext cx="1150144" cy="38272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22850" tIns="22850" rIns="22850" bIns="228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r>
                <a:rPr lang="en-US" sz="1800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 </a:t>
              </a:r>
              <a:r>
                <a:rPr lang="en-US" sz="1800" dirty="0">
                  <a:solidFill>
                    <a:schemeClr val="accent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Reporting</a:t>
              </a:r>
              <a:endParaRPr sz="1800" dirty="0">
                <a:solidFill>
                  <a:schemeClr val="accent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" name="Google Shape;341;p17">
              <a:extLst>
                <a:ext uri="{FF2B5EF4-FFF2-40B4-BE49-F238E27FC236}">
                  <a16:creationId xmlns:a16="http://schemas.microsoft.com/office/drawing/2014/main" id="{07A169D7-1DDE-4592-7B48-818B9C299A80}"/>
                </a:ext>
              </a:extLst>
            </p:cNvPr>
            <p:cNvSpPr/>
            <p:nvPr/>
          </p:nvSpPr>
          <p:spPr>
            <a:xfrm>
              <a:off x="2627263" y="3631394"/>
              <a:ext cx="1720336" cy="1488293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accent6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" name="Google Shape;342;p17">
              <a:extLst>
                <a:ext uri="{FF2B5EF4-FFF2-40B4-BE49-F238E27FC236}">
                  <a16:creationId xmlns:a16="http://schemas.microsoft.com/office/drawing/2014/main" id="{A3817764-DF7E-3B0E-D061-04CFDD8F1E45}"/>
                </a:ext>
              </a:extLst>
            </p:cNvPr>
            <p:cNvSpPr txBox="1"/>
            <p:nvPr/>
          </p:nvSpPr>
          <p:spPr>
            <a:xfrm>
              <a:off x="2924285" y="4375540"/>
              <a:ext cx="1150144" cy="51108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22850" tIns="22850" rIns="22850" bIns="228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r>
                <a:rPr lang="en-US" sz="1800" dirty="0">
                  <a:solidFill>
                    <a:schemeClr val="accent6"/>
                  </a:solidFill>
                  <a:latin typeface="Avenir"/>
                  <a:ea typeface="Avenir"/>
                  <a:cs typeface="Avenir"/>
                  <a:sym typeface="Avenir"/>
                </a:rPr>
                <a:t>Sales Process</a:t>
              </a:r>
              <a:endParaRPr sz="1800" dirty="0">
                <a:solidFill>
                  <a:schemeClr val="accent6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" name="Google Shape;343;p17">
              <a:extLst>
                <a:ext uri="{FF2B5EF4-FFF2-40B4-BE49-F238E27FC236}">
                  <a16:creationId xmlns:a16="http://schemas.microsoft.com/office/drawing/2014/main" id="{021E2C69-E98E-CC1A-2130-B4CE2E018139}"/>
                </a:ext>
              </a:extLst>
            </p:cNvPr>
            <p:cNvSpPr/>
            <p:nvPr/>
          </p:nvSpPr>
          <p:spPr>
            <a:xfrm>
              <a:off x="1042189" y="2715994"/>
              <a:ext cx="1720336" cy="1488293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 dirty="0">
                <a:solidFill>
                  <a:schemeClr val="accent6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" name="Google Shape;344;p17">
              <a:extLst>
                <a:ext uri="{FF2B5EF4-FFF2-40B4-BE49-F238E27FC236}">
                  <a16:creationId xmlns:a16="http://schemas.microsoft.com/office/drawing/2014/main" id="{5A5482AA-32D2-95DD-BF5A-758106742AEC}"/>
                </a:ext>
              </a:extLst>
            </p:cNvPr>
            <p:cNvSpPr txBox="1"/>
            <p:nvPr/>
          </p:nvSpPr>
          <p:spPr>
            <a:xfrm>
              <a:off x="1376163" y="3344341"/>
              <a:ext cx="1029622" cy="71194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22850" tIns="22850" rIns="22850" bIns="228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r>
                <a:rPr lang="en-US" sz="1800" dirty="0">
                  <a:solidFill>
                    <a:schemeClr val="accent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Territory Design &amp; Quota</a:t>
              </a:r>
              <a:endParaRPr sz="1800" dirty="0">
                <a:solidFill>
                  <a:schemeClr val="accent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" name="Google Shape;345;p17">
              <a:extLst>
                <a:ext uri="{FF2B5EF4-FFF2-40B4-BE49-F238E27FC236}">
                  <a16:creationId xmlns:a16="http://schemas.microsoft.com/office/drawing/2014/main" id="{CEBB01DD-B6F1-2036-8737-FEECF273ED93}"/>
                </a:ext>
              </a:extLst>
            </p:cNvPr>
            <p:cNvSpPr/>
            <p:nvPr/>
          </p:nvSpPr>
          <p:spPr>
            <a:xfrm>
              <a:off x="1042189" y="913352"/>
              <a:ext cx="1720336" cy="1488293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venir"/>
                <a:buNone/>
              </a:pPr>
              <a:endParaRPr sz="1800">
                <a:solidFill>
                  <a:schemeClr val="accent6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" name="Google Shape;346;p17">
              <a:extLst>
                <a:ext uri="{FF2B5EF4-FFF2-40B4-BE49-F238E27FC236}">
                  <a16:creationId xmlns:a16="http://schemas.microsoft.com/office/drawing/2014/main" id="{A9A6E975-C2B0-8323-2521-682C7AD1867E}"/>
                </a:ext>
              </a:extLst>
            </p:cNvPr>
            <p:cNvSpPr txBox="1"/>
            <p:nvPr/>
          </p:nvSpPr>
          <p:spPr>
            <a:xfrm>
              <a:off x="1372044" y="1672751"/>
              <a:ext cx="1078500" cy="49161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22850" tIns="22850" rIns="22850" bIns="228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r>
                <a:rPr lang="en-US" sz="1800" dirty="0">
                  <a:solidFill>
                    <a:schemeClr val="accent6"/>
                  </a:solidFill>
                  <a:latin typeface="Avenir"/>
                  <a:ea typeface="Avenir"/>
                  <a:cs typeface="Avenir"/>
                  <a:sym typeface="Avenir"/>
                </a:rPr>
                <a:t>Sales Support</a:t>
              </a:r>
              <a:endParaRPr sz="1800" dirty="0">
                <a:solidFill>
                  <a:schemeClr val="accent6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18" name="Google Shape;348;p17">
            <a:extLst>
              <a:ext uri="{FF2B5EF4-FFF2-40B4-BE49-F238E27FC236}">
                <a16:creationId xmlns:a16="http://schemas.microsoft.com/office/drawing/2014/main" id="{15A04E24-3088-D3AD-2075-CAC044B05584}"/>
              </a:ext>
            </a:extLst>
          </p:cNvPr>
          <p:cNvSpPr/>
          <p:nvPr/>
        </p:nvSpPr>
        <p:spPr>
          <a:xfrm>
            <a:off x="6807201" y="1818052"/>
            <a:ext cx="4860593" cy="45360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457189" marR="0" lvl="0" indent="-457189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95"/>
              <a:buFont typeface="Arial"/>
              <a:buAutoNum type="arabicPeriod"/>
            </a:pPr>
            <a:r>
              <a:rPr lang="en-US" sz="1295" b="1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Data Strategy- </a:t>
            </a:r>
            <a:r>
              <a:rPr lang="en-US" sz="1295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Identify, access and manage data required to drive sound sales decisions with maximum efficiency</a:t>
            </a:r>
            <a:endParaRPr sz="1800" dirty="0">
              <a:solidFill>
                <a:srgbClr val="161718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457189" marR="0" lvl="0" indent="-457189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295"/>
              <a:buFont typeface="Arial"/>
              <a:buAutoNum type="arabicPeriod"/>
            </a:pPr>
            <a:r>
              <a:rPr lang="en-US" sz="1295" b="1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Systems Strategy-</a:t>
            </a:r>
            <a:r>
              <a:rPr lang="en-US" sz="1295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 Automate core business processes to increase efficiency and effectiveness of the sales organization by removing administrative burdens</a:t>
            </a:r>
            <a:endParaRPr sz="1800" dirty="0">
              <a:solidFill>
                <a:srgbClr val="161718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457189" marR="0" lvl="0" indent="-457189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295"/>
              <a:buFont typeface="Arial"/>
              <a:buAutoNum type="arabicPeriod"/>
            </a:pPr>
            <a:r>
              <a:rPr lang="en-US" sz="1295" b="1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Analytics-</a:t>
            </a:r>
            <a:r>
              <a:rPr lang="en-US" sz="1295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 Analyze data (qualitative &amp; quantitative) to produce key insights to sales &amp; executive leadership</a:t>
            </a:r>
            <a:endParaRPr sz="1800" dirty="0">
              <a:solidFill>
                <a:srgbClr val="161718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457189" marR="0" lvl="0" indent="-457189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295"/>
              <a:buFont typeface="Arial"/>
              <a:buAutoNum type="arabicPeriod"/>
            </a:pPr>
            <a:r>
              <a:rPr lang="en-US" sz="1295" b="1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porting-</a:t>
            </a:r>
            <a:r>
              <a:rPr lang="en-US" sz="1295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 Report upon data which provides insights leading to actions that improve revenue and booking performance</a:t>
            </a:r>
            <a:endParaRPr sz="1800" dirty="0">
              <a:solidFill>
                <a:srgbClr val="161718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457189" marR="0" lvl="0" indent="-457189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295"/>
              <a:buFont typeface="Arial"/>
              <a:buAutoNum type="arabicPeriod"/>
            </a:pPr>
            <a:r>
              <a:rPr lang="en-US" sz="1295" b="1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Sales Process – </a:t>
            </a:r>
            <a:r>
              <a:rPr lang="en-US" sz="1295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Create structure and methodology to selling activities in a way that optimizes sales productivity </a:t>
            </a:r>
            <a:endParaRPr sz="1800" dirty="0">
              <a:solidFill>
                <a:srgbClr val="161718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457189" marR="0" lvl="0" indent="-457189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295"/>
              <a:buFont typeface="Arial"/>
              <a:buAutoNum type="arabicPeriod"/>
            </a:pPr>
            <a:r>
              <a:rPr lang="en-US" sz="1295" b="1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Territory Design &amp; Quota- </a:t>
            </a:r>
            <a:r>
              <a:rPr lang="en-US" sz="1295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Assign accounts, opportunities and quotas based on a balanced and optimal load. </a:t>
            </a:r>
            <a:endParaRPr sz="1800" dirty="0">
              <a:solidFill>
                <a:srgbClr val="161718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457189" marR="0" lvl="0" indent="-457189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295"/>
              <a:buFont typeface="Arial"/>
              <a:buAutoNum type="arabicPeriod"/>
            </a:pPr>
            <a:r>
              <a:rPr lang="en-US" sz="1295" b="1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Sales Support- </a:t>
            </a:r>
            <a:r>
              <a:rPr lang="en-US" sz="1295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Assist the sales department in a means which drives the greater additional business efficiencies</a:t>
            </a:r>
            <a:endParaRPr sz="1800" dirty="0">
              <a:solidFill>
                <a:srgbClr val="161718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19" name="Google Shape;347;p17">
            <a:extLst>
              <a:ext uri="{FF2B5EF4-FFF2-40B4-BE49-F238E27FC236}">
                <a16:creationId xmlns:a16="http://schemas.microsoft.com/office/drawing/2014/main" id="{CDB2CE10-EF09-184B-B673-540F52D3DF0F}"/>
              </a:ext>
            </a:extLst>
          </p:cNvPr>
          <p:cNvSpPr/>
          <p:nvPr/>
        </p:nvSpPr>
        <p:spPr>
          <a:xfrm>
            <a:off x="6807201" y="1297579"/>
            <a:ext cx="4860593" cy="5183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400"/>
              <a:buFont typeface="Avenir"/>
              <a:buNone/>
            </a:pPr>
            <a:r>
              <a:rPr lang="en-US" sz="2400" b="1" dirty="0">
                <a:solidFill>
                  <a:schemeClr val="accent2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Detail</a:t>
            </a:r>
            <a:endParaRPr sz="1800" b="1" dirty="0">
              <a:solidFill>
                <a:schemeClr val="accent2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pic>
        <p:nvPicPr>
          <p:cNvPr id="22" name="Graphic 21" descr="Badge 7 outline">
            <a:extLst>
              <a:ext uri="{FF2B5EF4-FFF2-40B4-BE49-F238E27FC236}">
                <a16:creationId xmlns:a16="http://schemas.microsoft.com/office/drawing/2014/main" id="{D927B640-A783-90D7-BDF6-9BB4A9730A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61268" y="2392208"/>
            <a:ext cx="382729" cy="382729"/>
          </a:xfrm>
          <a:prstGeom prst="rect">
            <a:avLst/>
          </a:prstGeom>
        </p:spPr>
      </p:pic>
      <p:pic>
        <p:nvPicPr>
          <p:cNvPr id="24" name="Graphic 23" descr="Badge 6 outline">
            <a:extLst>
              <a:ext uri="{FF2B5EF4-FFF2-40B4-BE49-F238E27FC236}">
                <a16:creationId xmlns:a16="http://schemas.microsoft.com/office/drawing/2014/main" id="{3C0CB36B-B7F2-ABDD-24EA-05033BE6AD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14471" y="4166263"/>
            <a:ext cx="382729" cy="382729"/>
          </a:xfrm>
          <a:prstGeom prst="rect">
            <a:avLst/>
          </a:prstGeom>
        </p:spPr>
      </p:pic>
      <p:pic>
        <p:nvPicPr>
          <p:cNvPr id="26" name="Graphic 25" descr="Badge 5 outline">
            <a:extLst>
              <a:ext uri="{FF2B5EF4-FFF2-40B4-BE49-F238E27FC236}">
                <a16:creationId xmlns:a16="http://schemas.microsoft.com/office/drawing/2014/main" id="{0CC60BAA-BC8A-8FA6-8742-7AFF3BAF2E9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09126" y="5006949"/>
            <a:ext cx="382729" cy="382729"/>
          </a:xfrm>
          <a:prstGeom prst="rect">
            <a:avLst/>
          </a:prstGeom>
        </p:spPr>
      </p:pic>
      <p:pic>
        <p:nvPicPr>
          <p:cNvPr id="28" name="Graphic 27" descr="Badge 4 outline">
            <a:extLst>
              <a:ext uri="{FF2B5EF4-FFF2-40B4-BE49-F238E27FC236}">
                <a16:creationId xmlns:a16="http://schemas.microsoft.com/office/drawing/2014/main" id="{6C631EDC-9647-AA56-CAF0-DD90C51EC92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94874" y="4196052"/>
            <a:ext cx="382729" cy="382729"/>
          </a:xfrm>
          <a:prstGeom prst="rect">
            <a:avLst/>
          </a:prstGeom>
        </p:spPr>
      </p:pic>
      <p:pic>
        <p:nvPicPr>
          <p:cNvPr id="30" name="Graphic 29" descr="Badge 3 outline">
            <a:extLst>
              <a:ext uri="{FF2B5EF4-FFF2-40B4-BE49-F238E27FC236}">
                <a16:creationId xmlns:a16="http://schemas.microsoft.com/office/drawing/2014/main" id="{D6779017-E242-89B5-52B4-A98B7D4478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494874" y="2375009"/>
            <a:ext cx="382729" cy="382729"/>
          </a:xfrm>
          <a:prstGeom prst="rect">
            <a:avLst/>
          </a:prstGeom>
        </p:spPr>
      </p:pic>
      <p:pic>
        <p:nvPicPr>
          <p:cNvPr id="32" name="Graphic 31" descr="Badge outline">
            <a:extLst>
              <a:ext uri="{FF2B5EF4-FFF2-40B4-BE49-F238E27FC236}">
                <a16:creationId xmlns:a16="http://schemas.microsoft.com/office/drawing/2014/main" id="{9DFDFDBE-21E8-2857-EBBF-4782834ABC1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905398" y="1365389"/>
            <a:ext cx="382729" cy="382729"/>
          </a:xfrm>
          <a:prstGeom prst="rect">
            <a:avLst/>
          </a:prstGeom>
        </p:spPr>
      </p:pic>
      <p:pic>
        <p:nvPicPr>
          <p:cNvPr id="34" name="Graphic 33" descr="Badge 1 outline">
            <a:extLst>
              <a:ext uri="{FF2B5EF4-FFF2-40B4-BE49-F238E27FC236}">
                <a16:creationId xmlns:a16="http://schemas.microsoft.com/office/drawing/2014/main" id="{62EE03C1-86F6-88CB-2D22-0E34A7D2DCB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921233" y="3185617"/>
            <a:ext cx="382729" cy="382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0439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2A674B-2E8C-28A9-F038-DDCC3E2D94F8}"/>
              </a:ext>
            </a:extLst>
          </p:cNvPr>
          <p:cNvSpPr/>
          <p:nvPr/>
        </p:nvSpPr>
        <p:spPr>
          <a:xfrm>
            <a:off x="0" y="1107802"/>
            <a:ext cx="12192000" cy="6672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schemeClr val="tx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Example: </a:t>
            </a:r>
            <a:br>
              <a:rPr lang="en-US" dirty="0"/>
            </a:br>
            <a:r>
              <a:rPr lang="en-US" dirty="0"/>
              <a:t>Pipeline &amp; Revenue Metrics Actively Monitored by Revenue Opera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954A0A9-0CD2-DCEB-96FC-B61E5869094B}"/>
              </a:ext>
            </a:extLst>
          </p:cNvPr>
          <p:cNvSpPr txBox="1"/>
          <p:nvPr/>
        </p:nvSpPr>
        <p:spPr>
          <a:xfrm>
            <a:off x="3550024" y="4329953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400" dirty="0"/>
          </a:p>
        </p:txBody>
      </p:sp>
      <p:graphicFrame>
        <p:nvGraphicFramePr>
          <p:cNvPr id="3" name="Google Shape;354;p18">
            <a:extLst>
              <a:ext uri="{FF2B5EF4-FFF2-40B4-BE49-F238E27FC236}">
                <a16:creationId xmlns:a16="http://schemas.microsoft.com/office/drawing/2014/main" id="{54F1790A-4CE5-FD77-D4C0-6660376979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3341139"/>
              </p:ext>
            </p:extLst>
          </p:nvPr>
        </p:nvGraphicFramePr>
        <p:xfrm>
          <a:off x="609600" y="1441406"/>
          <a:ext cx="10962290" cy="472414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4068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938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5114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400"/>
                        <a:buFont typeface="Avenir"/>
                        <a:buNone/>
                      </a:pPr>
                      <a:r>
                        <a:rPr lang="en-US" sz="1400" dirty="0"/>
                        <a:t>Metrics</a:t>
                      </a:r>
                      <a:endParaRPr sz="1400" dirty="0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400"/>
                        <a:buFont typeface="Avenir"/>
                        <a:buNone/>
                      </a:pPr>
                      <a:r>
                        <a:rPr lang="en-US" sz="1400" dirty="0"/>
                        <a:t>Calculation</a:t>
                      </a:r>
                      <a:endParaRPr sz="1400" dirty="0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76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Total Pipeline by X</a:t>
                      </a:r>
                      <a:endParaRPr sz="180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X = LOB, Region, Industry, Rep, Etc. </a:t>
                      </a:r>
                      <a:endParaRPr sz="1200" i="1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200" dirty="0"/>
                        <a:t>Y = (Total Pipeline by X) / (Total Pipeline)</a:t>
                      </a:r>
                      <a:endParaRPr sz="1200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76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Total Pipeline by Time</a:t>
                      </a:r>
                      <a:endParaRPr sz="180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Time dimension to vary</a:t>
                      </a:r>
                      <a:endParaRPr sz="1200" i="1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200"/>
                        <a:t>Y = (Total Pipeline in Time Range) / (Total Pipeline)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337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Average Deal by Pipeline Stage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200"/>
                        <a:t>Y = (Sum of Pipeline by Stage) / (Number of Opportunities by Stage)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8181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Average Close Rate by Stage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200"/>
                        <a:t>Y = (# of Deals Closed Which Entered Certain Stage) / (# of Total Opportunities)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337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 dirty="0"/>
                        <a:t>Conversion Rate by Stage</a:t>
                      </a:r>
                      <a:endParaRPr sz="1200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200"/>
                        <a:t>Y = (# of Deals Which Advance to Next Stage) / (# of Total Deals by Stage)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337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Average Age of Opportunity by Stage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200"/>
                        <a:t>Y = (Sum of Opportunity Days by Stage) / (# of Total Opportunities by Stage)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76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Annual Contract Value by X</a:t>
                      </a:r>
                      <a:endParaRPr sz="180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X = Time Dimension, Region, Rep, etc.</a:t>
                      </a:r>
                      <a:endParaRPr sz="1200" i="1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200"/>
                        <a:t>Y = (Sum of Contacts by X) / (# of Total Contracts by X)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76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Total Revenue by X</a:t>
                      </a:r>
                      <a:endParaRPr sz="180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X = Time Dimension, Region, Rep, etc.</a:t>
                      </a:r>
                      <a:endParaRPr sz="1200" i="1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200"/>
                        <a:t>Y = (Sum of Revenue by X)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337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Quota Attainment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200"/>
                        <a:t>Y = (Total Revenue Attained) / (Quota)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337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Renewal Success Rate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200"/>
                        <a:t>Y = (# of Customers Which Renewed) / (# of Total Customers Eligible for Renewal)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337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Percent of Total Customers With Logged Activity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200"/>
                        <a:t>Y = (# of Customers With Activity Logged) / (# of Total Customers)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337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venir"/>
                        <a:buNone/>
                      </a:pPr>
                      <a:r>
                        <a:rPr lang="en-US" sz="1200"/>
                        <a:t>Percent of Opportunities With Logged Activity</a:t>
                      </a:r>
                      <a:endParaRPr sz="12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200" dirty="0"/>
                        <a:t>Y = (# of Opportunities With Activity Logged) / (# of Total Opportunities)</a:t>
                      </a:r>
                      <a:endParaRPr sz="1200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25" marR="121925" marT="60950" marB="6095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59748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0A86CE5-A464-9F77-5040-570B6847378E}"/>
              </a:ext>
            </a:extLst>
          </p:cNvPr>
          <p:cNvSpPr/>
          <p:nvPr/>
        </p:nvSpPr>
        <p:spPr>
          <a:xfrm>
            <a:off x="5449078" y="0"/>
            <a:ext cx="6742922" cy="61208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855" y="389282"/>
            <a:ext cx="10962290" cy="767853"/>
          </a:xfrm>
        </p:spPr>
        <p:txBody>
          <a:bodyPr>
            <a:noAutofit/>
          </a:bodyPr>
          <a:lstStyle/>
          <a:p>
            <a:br>
              <a:rPr lang="en-US" b="1" i="0" u="none" strike="noStrike" cap="none" dirty="0">
                <a:ea typeface="Avenir"/>
                <a:cs typeface="Avenir"/>
                <a:sym typeface="Avenir"/>
              </a:rPr>
            </a:br>
            <a:br>
              <a:rPr lang="en-US" b="1" i="0" u="none" strike="noStrike" cap="none" dirty="0">
                <a:ea typeface="Avenir"/>
                <a:cs typeface="Avenir"/>
                <a:sym typeface="Avenir"/>
              </a:rPr>
            </a:br>
            <a:br>
              <a:rPr lang="en-US" b="1" i="0" u="none" strike="noStrike" cap="none" dirty="0">
                <a:ea typeface="Avenir"/>
                <a:cs typeface="Avenir"/>
                <a:sym typeface="Avenir"/>
              </a:rPr>
            </a:br>
            <a:br>
              <a:rPr lang="en-US" b="1" i="0" u="none" strike="noStrike" cap="none" dirty="0">
                <a:ea typeface="Avenir"/>
                <a:cs typeface="Avenir"/>
                <a:sym typeface="Avenir"/>
              </a:rPr>
            </a:br>
            <a:r>
              <a:rPr lang="en-US" b="1" i="0" u="none" strike="noStrike" cap="none" dirty="0">
                <a:ea typeface="Avenir"/>
                <a:cs typeface="Avenir"/>
                <a:sym typeface="Avenir"/>
              </a:rPr>
              <a:t>Table of Contents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2" name="Google Shape;54;p2">
            <a:extLst>
              <a:ext uri="{FF2B5EF4-FFF2-40B4-BE49-F238E27FC236}">
                <a16:creationId xmlns:a16="http://schemas.microsoft.com/office/drawing/2014/main" id="{79D8C755-2AD4-BDC1-56C0-69A82016A57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9945033"/>
              </p:ext>
            </p:extLst>
          </p:nvPr>
        </p:nvGraphicFramePr>
        <p:xfrm>
          <a:off x="6000720" y="1484725"/>
          <a:ext cx="5576425" cy="3877819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5081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4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837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venir"/>
                        <a:buNone/>
                      </a:pPr>
                      <a:r>
                        <a:rPr lang="en-US" sz="1800" u="none" strike="noStrike" cap="none" dirty="0">
                          <a:solidFill>
                            <a:schemeClr val="dk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Revenue Operations Overview</a:t>
                      </a:r>
                      <a:endParaRPr sz="1800" u="none" strike="noStrike" cap="none" dirty="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ts val="1600"/>
                        <a:buFont typeface="Avenir"/>
                        <a:buNone/>
                      </a:pPr>
                      <a:r>
                        <a:rPr lang="en-US" sz="1600" b="1" u="none" strike="noStrike" cap="none" dirty="0">
                          <a:solidFill>
                            <a:schemeClr val="accent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4</a:t>
                      </a:r>
                      <a:endParaRPr sz="1800" u="none" strike="noStrike" cap="none" dirty="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37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venir"/>
                        <a:buNone/>
                      </a:pPr>
                      <a:r>
                        <a:rPr lang="en-US" sz="1800" u="none" strike="noStrike" cap="none" dirty="0">
                          <a:solidFill>
                            <a:schemeClr val="dk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Revenue Operations Structure and Scope</a:t>
                      </a:r>
                      <a:endParaRPr sz="1800" u="none" strike="noStrike" cap="none" dirty="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ts val="1600"/>
                        <a:buFont typeface="Avenir"/>
                        <a:buNone/>
                      </a:pPr>
                      <a:r>
                        <a:rPr lang="en-US" sz="1600" b="1" u="none" strike="noStrike" cap="none" dirty="0">
                          <a:solidFill>
                            <a:schemeClr val="accent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6</a:t>
                      </a:r>
                      <a:endParaRPr sz="1800" u="none" strike="noStrike" cap="none" dirty="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37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venir"/>
                        <a:buNone/>
                      </a:pPr>
                      <a:r>
                        <a:rPr lang="en-US" sz="1800" u="none" strike="noStrike" cap="none">
                          <a:solidFill>
                            <a:schemeClr val="dk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Creating a Revenue Operations Charter</a:t>
                      </a:r>
                      <a:endParaRPr sz="1800" u="none" strike="noStrike" cap="none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1">
                          <a:solidFill>
                            <a:schemeClr val="accent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11</a:t>
                      </a:r>
                      <a:endParaRPr sz="1800" u="none" strike="noStrike" cap="none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37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venir"/>
                        <a:buNone/>
                      </a:pPr>
                      <a:r>
                        <a:rPr lang="en-US" sz="1800" u="none" strike="noStrike" cap="none">
                          <a:solidFill>
                            <a:schemeClr val="dk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Revenue Operations </a:t>
                      </a:r>
                      <a:r>
                        <a:rPr lang="en-US" sz="1800">
                          <a:solidFill>
                            <a:schemeClr val="dk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Impact on Cross-Functional Partners</a:t>
                      </a:r>
                      <a:endParaRPr sz="1800" u="none" strike="noStrike" cap="none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1" u="none" strike="noStrike" cap="none" dirty="0">
                          <a:solidFill>
                            <a:schemeClr val="accent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13</a:t>
                      </a:r>
                      <a:endParaRPr sz="1800" u="none" strike="noStrike" cap="none" dirty="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845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venir"/>
                        <a:buNone/>
                      </a:pPr>
                      <a:r>
                        <a:rPr lang="en-US" sz="1800" dirty="0">
                          <a:solidFill>
                            <a:schemeClr val="dk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Revenue Operations Client Examples</a:t>
                      </a:r>
                      <a:endParaRPr sz="1800" u="none" strike="noStrike" cap="none" dirty="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1" dirty="0">
                          <a:solidFill>
                            <a:schemeClr val="accent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14</a:t>
                      </a:r>
                      <a:endParaRPr sz="1800" u="none" strike="noStrike" cap="none" dirty="0">
                        <a:latin typeface="Avenir Next LT Pro" panose="020B0504020202020204" pitchFamily="34" charset="77"/>
                        <a:ea typeface="Avenir"/>
                        <a:cs typeface="Avenir"/>
                        <a:sym typeface="Avenir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81706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8F866F-35CB-E355-5BEF-EEC76CFED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Appendix</a:t>
            </a:r>
            <a:endParaRPr lang="en-US" dirty="0">
              <a:latin typeface="Avenir Next LT Pro" panose="020B0504020202020204" pitchFamily="34" charset="77"/>
            </a:endParaRPr>
          </a:p>
        </p:txBody>
      </p:sp>
      <p:sp>
        <p:nvSpPr>
          <p:cNvPr id="6" name="Text Placeholder 5" hidden="1">
            <a:extLst>
              <a:ext uri="{FF2B5EF4-FFF2-40B4-BE49-F238E27FC236}">
                <a16:creationId xmlns:a16="http://schemas.microsoft.com/office/drawing/2014/main" id="{CFDC0119-3FB0-12E3-1298-E5DC88FED1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1713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A7BE1CD-D345-63EB-F16F-4212075AFCA2}"/>
              </a:ext>
            </a:extLst>
          </p:cNvPr>
          <p:cNvSpPr/>
          <p:nvPr/>
        </p:nvSpPr>
        <p:spPr>
          <a:xfrm>
            <a:off x="0" y="987554"/>
            <a:ext cx="121920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7589"/>
            <a:ext cx="11438965" cy="767853"/>
          </a:xfrm>
        </p:spPr>
        <p:txBody>
          <a:bodyPr/>
          <a:lstStyle/>
          <a:p>
            <a:r>
              <a:rPr lang="en-US" sz="2400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4 Pillars of Performance: Planning, Strategy, Execution, and Optimization</a:t>
            </a:r>
            <a:endParaRPr lang="en-US" dirty="0">
              <a:latin typeface="Avenir Next LT Pro" panose="020B0504020202020204" pitchFamily="34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BBE989-AD47-6501-97FF-4E120B100933}"/>
              </a:ext>
            </a:extLst>
          </p:cNvPr>
          <p:cNvSpPr txBox="1"/>
          <p:nvPr/>
        </p:nvSpPr>
        <p:spPr>
          <a:xfrm>
            <a:off x="609600" y="1121588"/>
            <a:ext cx="110911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Avenir"/>
                <a:ea typeface="Avenir"/>
                <a:cs typeface="Avenir"/>
                <a:sym typeface="Avenir"/>
              </a:rPr>
              <a:t>Revenue Operations delivers value across </a:t>
            </a:r>
            <a:r>
              <a:rPr lang="en-US" sz="1800" b="1" dirty="0">
                <a:latin typeface="Avenir"/>
                <a:ea typeface="Avenir"/>
                <a:cs typeface="Avenir"/>
                <a:sym typeface="Avenir"/>
              </a:rPr>
              <a:t>4 pillars of performance: Planning, Strategy, Execution, and Optimization.</a:t>
            </a:r>
            <a:r>
              <a:rPr lang="en-US" sz="1800" dirty="0">
                <a:latin typeface="Avenir"/>
                <a:ea typeface="Avenir"/>
                <a:cs typeface="Avenir"/>
                <a:sym typeface="Avenir"/>
              </a:rPr>
              <a:t> The challenge is in coordinating these across the leaders of each function </a:t>
            </a:r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2D919D0-1617-9446-65E9-258D1473E017}"/>
              </a:ext>
            </a:extLst>
          </p:cNvPr>
          <p:cNvGrpSpPr/>
          <p:nvPr/>
        </p:nvGrpSpPr>
        <p:grpSpPr>
          <a:xfrm>
            <a:off x="443395" y="2265218"/>
            <a:ext cx="11294700" cy="3225213"/>
            <a:chOff x="443395" y="2081102"/>
            <a:chExt cx="11294700" cy="3225213"/>
          </a:xfrm>
        </p:grpSpPr>
        <p:graphicFrame>
          <p:nvGraphicFramePr>
            <p:cNvPr id="5" name="Google Shape;367;p20">
              <a:extLst>
                <a:ext uri="{FF2B5EF4-FFF2-40B4-BE49-F238E27FC236}">
                  <a16:creationId xmlns:a16="http://schemas.microsoft.com/office/drawing/2014/main" id="{4905CD09-3BCC-E485-6BC8-7B4FBAA84AA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05842925"/>
                </p:ext>
              </p:extLst>
            </p:nvPr>
          </p:nvGraphicFramePr>
          <p:xfrm>
            <a:off x="443395" y="2629645"/>
            <a:ext cx="11294700" cy="2676670"/>
          </p:xfrm>
          <a:graphic>
            <a:graphicData uri="http://schemas.openxmlformats.org/drawingml/2006/table">
              <a:tbl>
                <a:tblPr firstRow="1" bandRow="1">
                  <a:noFill/>
                </a:tblPr>
                <a:tblGrid>
                  <a:gridCol w="2823675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2823675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2823675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2823675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</a:tblGrid>
                <a:tr h="939300"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600" b="1" dirty="0">
                            <a:solidFill>
                              <a:schemeClr val="bg1"/>
                            </a:solidFill>
                          </a:rPr>
                          <a:t>Strategy</a:t>
                        </a:r>
                        <a:endParaRPr b="1" dirty="0">
                          <a:solidFill>
                            <a:schemeClr val="bg1"/>
                          </a:solidFill>
                        </a:endParaRPr>
                      </a:p>
                    </a:txBody>
                    <a:tcPr marL="91450" marR="91450" marT="45725" marB="45725" anchor="b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accent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600" b="1" dirty="0">
                            <a:solidFill>
                              <a:schemeClr val="bg1"/>
                            </a:solidFill>
                          </a:rPr>
                          <a:t>Planning</a:t>
                        </a:r>
                        <a:endParaRPr b="1" dirty="0">
                          <a:solidFill>
                            <a:schemeClr val="bg1"/>
                          </a:solidFill>
                        </a:endParaRPr>
                      </a:p>
                    </a:txBody>
                    <a:tcPr marL="91450" marR="91450" marT="45725" marB="45725" anchor="b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accent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600" b="1" dirty="0">
                            <a:solidFill>
                              <a:schemeClr val="bg1"/>
                            </a:solidFill>
                          </a:rPr>
                          <a:t>Execution</a:t>
                        </a:r>
                        <a:endParaRPr b="1" dirty="0">
                          <a:solidFill>
                            <a:schemeClr val="bg1"/>
                          </a:solidFill>
                        </a:endParaRPr>
                      </a:p>
                    </a:txBody>
                    <a:tcPr marL="91450" marR="91450" marT="45725" marB="45725" anchor="b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accent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600" b="1" dirty="0">
                            <a:solidFill>
                              <a:schemeClr val="bg1"/>
                            </a:solidFill>
                          </a:rPr>
                          <a:t>Optimization</a:t>
                        </a:r>
                        <a:endParaRPr b="1" dirty="0">
                          <a:solidFill>
                            <a:schemeClr val="bg1"/>
                          </a:solidFill>
                        </a:endParaRPr>
                      </a:p>
                    </a:txBody>
                    <a:tcPr marL="91450" marR="91450" marT="45725" marB="45725" anchor="b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accent2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071375">
                  <a:tc>
                    <a:txBody>
                      <a:bodyPr/>
                      <a:lstStyle/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KPIs by Function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Shared Definitions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Prioritized Metrics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Benchmarks &amp; Targets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Revenue &amp; Financial Plan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Budget Methodology</a:t>
                        </a:r>
                        <a:endParaRPr dirty="0"/>
                      </a:p>
                    </a:txBody>
                    <a:tcPr marL="91450" marR="91450" marT="45725" marB="45725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Audience/Account Segmentation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Brand Strategy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Market Intelligence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Positioning &amp; Messaging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Channel Marketing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Campaign Strategy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Content Strategy 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Cross-Functional Communication</a:t>
                        </a:r>
                        <a:endParaRPr dirty="0"/>
                      </a:p>
                    </a:txBody>
                    <a:tcPr marL="91450" marR="91450" marT="45725" marB="45725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Revenue Marketing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Lead/Opportunity Scoring 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Lead/Opportunity Tracking 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Lead/Opportunity Routing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Lead/Opportunity Lifecycle Mapping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Engagement Tracking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Predictive Analytics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Automation</a:t>
                        </a:r>
                        <a:endParaRPr dirty="0"/>
                      </a:p>
                    </a:txBody>
                    <a:tcPr marL="91450" marR="91450" marT="45725" marB="45725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Data Maintenance 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Reporting Tools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Data Cleanliness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Data Validation/ Enrichment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Data Storage &amp; Upkeep</a:t>
                        </a:r>
                        <a:endParaRPr dirty="0"/>
                      </a:p>
                      <a:p>
                        <a:pPr marL="171450" marR="0" lvl="0" indent="-17145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SzPts val="1200"/>
                          <a:buFont typeface="Arial"/>
                          <a:buChar char="•"/>
                        </a:pPr>
                        <a:r>
                          <a:rPr lang="en-US" sz="1200" dirty="0"/>
                          <a:t>Attribution Methodology</a:t>
                        </a:r>
                        <a:endParaRPr dirty="0"/>
                      </a:p>
                    </a:txBody>
                    <a:tcPr marL="91450" marR="91450" marT="45725" marB="45725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>
                          <a:lumMod val="85000"/>
                        </a:schemeClr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</a:tbl>
            </a:graphicData>
          </a:graphic>
        </p:graphicFrame>
        <p:sp>
          <p:nvSpPr>
            <p:cNvPr id="11" name="Google Shape;375;p20">
              <a:extLst>
                <a:ext uri="{FF2B5EF4-FFF2-40B4-BE49-F238E27FC236}">
                  <a16:creationId xmlns:a16="http://schemas.microsoft.com/office/drawing/2014/main" id="{5994BE0F-A593-F90F-4704-84852724EBC4}"/>
                </a:ext>
              </a:extLst>
            </p:cNvPr>
            <p:cNvSpPr/>
            <p:nvPr/>
          </p:nvSpPr>
          <p:spPr>
            <a:xfrm>
              <a:off x="9829574" y="2081102"/>
              <a:ext cx="1163782" cy="1163782"/>
            </a:xfrm>
            <a:prstGeom prst="ellipse">
              <a:avLst/>
            </a:prstGeom>
            <a:solidFill>
              <a:schemeClr val="accent3"/>
            </a:solidFill>
            <a:ln w="9525" cap="flat" cmpd="sng">
              <a:solidFill>
                <a:srgbClr val="006BB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76200" dist="50800" dir="5400000" algn="tl" rotWithShape="0">
                <a:schemeClr val="dk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" name="Google Shape;378;p20">
              <a:extLst>
                <a:ext uri="{FF2B5EF4-FFF2-40B4-BE49-F238E27FC236}">
                  <a16:creationId xmlns:a16="http://schemas.microsoft.com/office/drawing/2014/main" id="{1FAD6327-499B-4B07-7F47-B7FBAA888AD7}"/>
                </a:ext>
              </a:extLst>
            </p:cNvPr>
            <p:cNvSpPr/>
            <p:nvPr/>
          </p:nvSpPr>
          <p:spPr>
            <a:xfrm>
              <a:off x="4135020" y="2081102"/>
              <a:ext cx="1163782" cy="1163782"/>
            </a:xfrm>
            <a:prstGeom prst="ellipse">
              <a:avLst/>
            </a:prstGeom>
            <a:solidFill>
              <a:schemeClr val="accent3"/>
            </a:solidFill>
            <a:ln w="9525" cap="flat" cmpd="sng">
              <a:solidFill>
                <a:srgbClr val="006BB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76200" dist="50800" dir="5400000" algn="tl" rotWithShape="0">
                <a:schemeClr val="dk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 dirty="0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" name="Google Shape;378;p20">
              <a:extLst>
                <a:ext uri="{FF2B5EF4-FFF2-40B4-BE49-F238E27FC236}">
                  <a16:creationId xmlns:a16="http://schemas.microsoft.com/office/drawing/2014/main" id="{0EE2F089-F92E-F534-0192-C9EF918F6588}"/>
                </a:ext>
              </a:extLst>
            </p:cNvPr>
            <p:cNvSpPr/>
            <p:nvPr/>
          </p:nvSpPr>
          <p:spPr>
            <a:xfrm>
              <a:off x="1287743" y="2081102"/>
              <a:ext cx="1163782" cy="1163782"/>
            </a:xfrm>
            <a:prstGeom prst="ellipse">
              <a:avLst/>
            </a:prstGeom>
            <a:solidFill>
              <a:schemeClr val="accent3"/>
            </a:solidFill>
            <a:ln w="9525" cap="flat" cmpd="sng">
              <a:solidFill>
                <a:srgbClr val="006BB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76200" dist="50800" dir="5400000" algn="tl" rotWithShape="0">
                <a:schemeClr val="dk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" name="Google Shape;378;p20">
              <a:extLst>
                <a:ext uri="{FF2B5EF4-FFF2-40B4-BE49-F238E27FC236}">
                  <a16:creationId xmlns:a16="http://schemas.microsoft.com/office/drawing/2014/main" id="{964FAEA2-571D-9A55-6D0E-32AAC4E1B4A7}"/>
                </a:ext>
              </a:extLst>
            </p:cNvPr>
            <p:cNvSpPr/>
            <p:nvPr/>
          </p:nvSpPr>
          <p:spPr>
            <a:xfrm>
              <a:off x="6982297" y="2081102"/>
              <a:ext cx="1163782" cy="1163782"/>
            </a:xfrm>
            <a:prstGeom prst="ellipse">
              <a:avLst/>
            </a:prstGeom>
            <a:solidFill>
              <a:schemeClr val="accent3"/>
            </a:solidFill>
            <a:ln w="9525" cap="flat" cmpd="sng">
              <a:solidFill>
                <a:srgbClr val="006BB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76200" dist="50800" dir="5400000" algn="tl" rotWithShape="0">
                <a:schemeClr val="dk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pic>
        <p:nvPicPr>
          <p:cNvPr id="23" name="Graphic 22" descr="Daily calendar outline">
            <a:extLst>
              <a:ext uri="{FF2B5EF4-FFF2-40B4-BE49-F238E27FC236}">
                <a16:creationId xmlns:a16="http://schemas.microsoft.com/office/drawing/2014/main" id="{617E2352-48CB-FFBE-73ED-17901BD5CF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59711" y="2389909"/>
            <a:ext cx="914400" cy="914400"/>
          </a:xfrm>
          <a:prstGeom prst="rect">
            <a:avLst/>
          </a:prstGeom>
        </p:spPr>
      </p:pic>
      <p:pic>
        <p:nvPicPr>
          <p:cNvPr id="25" name="Graphic 24" descr="Target outline">
            <a:extLst>
              <a:ext uri="{FF2B5EF4-FFF2-40B4-BE49-F238E27FC236}">
                <a16:creationId xmlns:a16="http://schemas.microsoft.com/office/drawing/2014/main" id="{B815E525-86AA-9854-4D08-F3B28E3C6C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12434" y="2389909"/>
            <a:ext cx="914400" cy="914400"/>
          </a:xfrm>
          <a:prstGeom prst="rect">
            <a:avLst/>
          </a:prstGeom>
        </p:spPr>
      </p:pic>
      <p:pic>
        <p:nvPicPr>
          <p:cNvPr id="27" name="Graphic 26" descr="Flowchart with solid fill">
            <a:extLst>
              <a:ext uri="{FF2B5EF4-FFF2-40B4-BE49-F238E27FC236}">
                <a16:creationId xmlns:a16="http://schemas.microsoft.com/office/drawing/2014/main" id="{07934A3D-066A-FFA1-085D-75CB6779CEC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06988" y="2341434"/>
            <a:ext cx="914400" cy="914400"/>
          </a:xfrm>
          <a:prstGeom prst="rect">
            <a:avLst/>
          </a:prstGeom>
        </p:spPr>
      </p:pic>
      <p:pic>
        <p:nvPicPr>
          <p:cNvPr id="29" name="Graphic 28" descr="Folder Search outline">
            <a:extLst>
              <a:ext uri="{FF2B5EF4-FFF2-40B4-BE49-F238E27FC236}">
                <a16:creationId xmlns:a16="http://schemas.microsoft.com/office/drawing/2014/main" id="{22315843-72C8-F23E-02E8-39CC6DD378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9857" y="238990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5913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BA63BE6-8F2A-7C23-EAAC-750AF7FDBA06}"/>
              </a:ext>
            </a:extLst>
          </p:cNvPr>
          <p:cNvSpPr/>
          <p:nvPr/>
        </p:nvSpPr>
        <p:spPr>
          <a:xfrm>
            <a:off x="0" y="987553"/>
            <a:ext cx="121920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ACI Exercise</a:t>
            </a:r>
            <a:endParaRPr lang="en-US" dirty="0">
              <a:latin typeface="Avenir Next LT Pro" panose="020B0504020202020204" pitchFamily="34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FC6393-2044-782B-7BC6-C790F2E541F4}"/>
              </a:ext>
            </a:extLst>
          </p:cNvPr>
          <p:cNvSpPr txBox="1"/>
          <p:nvPr/>
        </p:nvSpPr>
        <p:spPr>
          <a:xfrm>
            <a:off x="609600" y="1121588"/>
            <a:ext cx="106993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A </a:t>
            </a:r>
            <a:r>
              <a:rPr lang="en-US" sz="1800" b="1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ACI exercise </a:t>
            </a:r>
            <a:r>
              <a:rPr lang="en-US" sz="1800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is the best way to </a:t>
            </a:r>
            <a:r>
              <a:rPr lang="en-US" sz="1800" b="1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capture and bring together the duties and tasks of many others </a:t>
            </a:r>
            <a:r>
              <a:rPr lang="en-US" sz="1800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into the one Revenue Operations organization</a:t>
            </a:r>
            <a:endParaRPr lang="en-US" dirty="0">
              <a:latin typeface="Avenir Next LT Pro" panose="020B0504020202020204" pitchFamily="34" charset="77"/>
            </a:endParaRPr>
          </a:p>
        </p:txBody>
      </p:sp>
      <p:pic>
        <p:nvPicPr>
          <p:cNvPr id="5" name="Google Shape;387;p21">
            <a:extLst>
              <a:ext uri="{FF2B5EF4-FFF2-40B4-BE49-F238E27FC236}">
                <a16:creationId xmlns:a16="http://schemas.microsoft.com/office/drawing/2014/main" id="{4986043A-0800-B646-1FFF-DE1CB5483821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3778"/>
          <a:stretch/>
        </p:blipFill>
        <p:spPr>
          <a:xfrm>
            <a:off x="1661183" y="2035988"/>
            <a:ext cx="8596209" cy="42153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29104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 hidden="1">
            <a:extLst>
              <a:ext uri="{FF2B5EF4-FFF2-40B4-BE49-F238E27FC236}">
                <a16:creationId xmlns:a16="http://schemas.microsoft.com/office/drawing/2014/main" id="{87D8704B-9267-0F29-8157-49E9E485FF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9313BF-F89C-608E-A84C-132C2F02D3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en-US" sz="4000" i="1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The purpose of Revenue Operations is to increase commercial efficiency through process, technology, metrics and best practices.</a:t>
            </a:r>
            <a:endParaRPr lang="en-US" sz="4800" i="1" u="none" strike="noStrike" cap="none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4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8758DD9-A75D-7069-F282-EE0922C52457}"/>
              </a:ext>
            </a:extLst>
          </p:cNvPr>
          <p:cNvSpPr/>
          <p:nvPr/>
        </p:nvSpPr>
        <p:spPr>
          <a:xfrm>
            <a:off x="0" y="1107803"/>
            <a:ext cx="121920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855" y="339968"/>
            <a:ext cx="10962290" cy="767853"/>
          </a:xfrm>
        </p:spPr>
        <p:txBody>
          <a:bodyPr anchor="b">
            <a:noAutofit/>
          </a:bodyPr>
          <a:lstStyle/>
          <a:p>
            <a:br>
              <a:rPr lang="en-US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</a:br>
            <a:br>
              <a:rPr lang="en-US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</a:br>
            <a:br>
              <a:rPr lang="en-US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</a:br>
            <a:br>
              <a:rPr lang="en-US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</a:br>
            <a:br>
              <a:rPr lang="en-US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</a:br>
            <a:br>
              <a:rPr lang="en-US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</a:br>
            <a:br>
              <a:rPr lang="en-US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</a:br>
            <a:br>
              <a:rPr lang="en-US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</a:br>
            <a:br>
              <a:rPr lang="en-US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</a:br>
            <a:r>
              <a:rPr lang="en-US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venue Operations Overview</a:t>
            </a:r>
            <a:br>
              <a:rPr lang="en-US" u="none" strike="noStrike" cap="none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</a:b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9B3822-B5CA-09A6-DEF2-DED7ACAD1EDC}"/>
              </a:ext>
            </a:extLst>
          </p:cNvPr>
          <p:cNvSpPr txBox="1"/>
          <p:nvPr/>
        </p:nvSpPr>
        <p:spPr>
          <a:xfrm>
            <a:off x="614854" y="1270244"/>
            <a:ext cx="1096228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venue Operations has emerged as an organizational best practice that unifies topline functions of Marketing, Sales, and Customer Success</a:t>
            </a:r>
            <a:endParaRPr lang="en-US" b="1" dirty="0">
              <a:latin typeface="Avenir Next LT Pro" panose="020B0504020202020204" pitchFamily="34" charset="77"/>
            </a:endParaRPr>
          </a:p>
        </p:txBody>
      </p:sp>
      <p:sp>
        <p:nvSpPr>
          <p:cNvPr id="4" name="Google Shape;72;p3">
            <a:extLst>
              <a:ext uri="{FF2B5EF4-FFF2-40B4-BE49-F238E27FC236}">
                <a16:creationId xmlns:a16="http://schemas.microsoft.com/office/drawing/2014/main" id="{1F6A5ACD-6473-2D43-D884-070EE6246ACB}"/>
              </a:ext>
            </a:extLst>
          </p:cNvPr>
          <p:cNvSpPr txBox="1"/>
          <p:nvPr/>
        </p:nvSpPr>
        <p:spPr>
          <a:xfrm>
            <a:off x="350520" y="2389928"/>
            <a:ext cx="6096000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2D3C"/>
              </a:buClr>
              <a:buSzPts val="2000"/>
              <a:buFont typeface="Arial"/>
              <a:buNone/>
            </a:pPr>
            <a:r>
              <a:rPr lang="en-US" sz="2000" b="1" i="0" u="none" strike="noStrike" cap="none" dirty="0">
                <a:solidFill>
                  <a:srgbClr val="1A2D3C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venue Operations </a:t>
            </a:r>
            <a:r>
              <a:rPr lang="en-US" sz="2000" b="1" i="0" u="none" strike="noStrike" cap="none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vs</a:t>
            </a:r>
            <a:r>
              <a:rPr lang="en-US" sz="2000" b="1" i="0" u="none" strike="noStrike" cap="none" dirty="0">
                <a:solidFill>
                  <a:srgbClr val="D9A800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 </a:t>
            </a:r>
            <a:r>
              <a:rPr lang="en-US" sz="2000" b="1" i="0" u="none" strike="noStrike" cap="none" dirty="0">
                <a:solidFill>
                  <a:schemeClr val="accent3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Sales Operations </a:t>
            </a:r>
            <a:endParaRPr sz="1800" b="0" i="0" u="none" strike="noStrike" cap="none" dirty="0">
              <a:solidFill>
                <a:schemeClr val="accent3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10" name="Google Shape;73;p3">
            <a:extLst>
              <a:ext uri="{FF2B5EF4-FFF2-40B4-BE49-F238E27FC236}">
                <a16:creationId xmlns:a16="http://schemas.microsoft.com/office/drawing/2014/main" id="{DFEE7AF4-34AB-9129-EDA0-7CA82A39A1B0}"/>
              </a:ext>
            </a:extLst>
          </p:cNvPr>
          <p:cNvSpPr txBox="1"/>
          <p:nvPr/>
        </p:nvSpPr>
        <p:spPr>
          <a:xfrm>
            <a:off x="6430480" y="2389928"/>
            <a:ext cx="5411000" cy="37856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-457200" algn="l" rtl="0"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2000"/>
              <a:buFont typeface="Arial"/>
              <a:buChar char="•"/>
            </a:pPr>
            <a:r>
              <a:rPr lang="en-US" sz="16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As companies work to understand the complete Customer Experience; Revenue Operations covers the entire lifecycle (cradle to grave) while Sales Operations covers only active demand management</a:t>
            </a:r>
            <a:endParaRPr sz="1600" b="0" i="0" u="none" strike="noStrike" cap="none" dirty="0">
              <a:solidFill>
                <a:srgbClr val="4C4846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1600" b="0" i="0" u="none" strike="noStrike" cap="none" dirty="0">
              <a:solidFill>
                <a:srgbClr val="4C4846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2000"/>
              <a:buFont typeface="Arial"/>
              <a:buChar char="•"/>
            </a:pPr>
            <a:r>
              <a:rPr lang="en-US" sz="16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Buyers don’t differentiate between Sales, Marketing, or Success interactions; Revenue Operations ensures continuity from purchase through to CX</a:t>
            </a:r>
            <a:endParaRPr sz="1600" b="0" i="0" u="none" strike="noStrike" cap="none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1600" b="0" i="0" u="none" strike="noStrike" cap="none" dirty="0">
              <a:solidFill>
                <a:srgbClr val="4C4846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457200" marR="0" lvl="0" indent="-457200" algn="l" rtl="0"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2000"/>
              <a:buFont typeface="Arial"/>
              <a:buChar char="•"/>
            </a:pPr>
            <a:r>
              <a:rPr lang="en-US" sz="16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Systems, data, and reporting all should be optimized across the lifetime of a prospect-customer. Revenue Operations achieves this coordinated and holistic view</a:t>
            </a:r>
            <a:endParaRPr sz="1600" b="0" i="0" u="none" strike="noStrike" cap="none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pic>
        <p:nvPicPr>
          <p:cNvPr id="12" name="Picture 11" descr="A diagram of a process&#10;&#10;Description automatically generated">
            <a:extLst>
              <a:ext uri="{FF2B5EF4-FFF2-40B4-BE49-F238E27FC236}">
                <a16:creationId xmlns:a16="http://schemas.microsoft.com/office/drawing/2014/main" id="{C04EF567-190C-EB66-B363-C9DC335437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8492" y="2921181"/>
            <a:ext cx="3985651" cy="3251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115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CC2F515-9196-6A92-ACD3-77F6697282C8}"/>
              </a:ext>
            </a:extLst>
          </p:cNvPr>
          <p:cNvSpPr/>
          <p:nvPr/>
        </p:nvSpPr>
        <p:spPr>
          <a:xfrm>
            <a:off x="0" y="1144156"/>
            <a:ext cx="121920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Operations’ View Across Go-to-Market Results in Improvements to Commercial Productivity</a:t>
            </a:r>
          </a:p>
        </p:txBody>
      </p:sp>
      <p:sp>
        <p:nvSpPr>
          <p:cNvPr id="2" name="Google Shape;85;p4">
            <a:extLst>
              <a:ext uri="{FF2B5EF4-FFF2-40B4-BE49-F238E27FC236}">
                <a16:creationId xmlns:a16="http://schemas.microsoft.com/office/drawing/2014/main" id="{61E97695-6666-5617-B1F6-682C4F7E8FA4}"/>
              </a:ext>
            </a:extLst>
          </p:cNvPr>
          <p:cNvSpPr txBox="1"/>
          <p:nvPr/>
        </p:nvSpPr>
        <p:spPr>
          <a:xfrm>
            <a:off x="381000" y="1354752"/>
            <a:ext cx="6781800" cy="32718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Key Outcomes Experienced with Integrated RevOps: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b="1" u="none" strike="noStrike" cap="none" dirty="0">
              <a:solidFill>
                <a:srgbClr val="4C4846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1" i="0" u="none" strike="noStrike" cap="none" dirty="0">
              <a:solidFill>
                <a:srgbClr val="4C4846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600"/>
              <a:buFont typeface="Avenir"/>
              <a:buAutoNum type="arabicPeriod"/>
            </a:pPr>
            <a:r>
              <a:rPr lang="en-US" sz="1600" b="1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Productivity</a:t>
            </a:r>
            <a:r>
              <a:rPr lang="en-US" sz="16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 – maximizing effectiveness for the company across all departments</a:t>
            </a:r>
            <a:endParaRPr dirty="0">
              <a:latin typeface="Avenir Next LT Pro" panose="020B0504020202020204" pitchFamily="34" charset="77"/>
            </a:endParaRPr>
          </a:p>
          <a:p>
            <a:pPr marL="457200" marR="0" lvl="0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+mj-lt"/>
              <a:buAutoNum type="arabicPeriod"/>
            </a:pPr>
            <a:endParaRPr sz="1600" b="0" i="0" u="none" strike="noStrike" cap="none" dirty="0">
              <a:solidFill>
                <a:srgbClr val="4C4846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600"/>
              <a:buFont typeface="Avenir"/>
              <a:buAutoNum type="arabicPeriod"/>
            </a:pPr>
            <a:r>
              <a:rPr lang="en-US" sz="1600" b="1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Efficiency </a:t>
            </a:r>
            <a:r>
              <a:rPr lang="en-US" sz="16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– optimizing the cost for each output of productivity </a:t>
            </a:r>
            <a:endParaRPr dirty="0">
              <a:latin typeface="Avenir Next LT Pro" panose="020B0504020202020204" pitchFamily="34" charset="77"/>
            </a:endParaRPr>
          </a:p>
          <a:p>
            <a:pPr marL="457200" marR="0" lvl="0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+mj-lt"/>
              <a:buAutoNum type="arabicPeriod"/>
            </a:pPr>
            <a:endParaRPr sz="1600" b="1" i="0" u="none" strike="noStrike" cap="none" dirty="0">
              <a:solidFill>
                <a:srgbClr val="4C4846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600"/>
              <a:buFont typeface="Avenir"/>
              <a:buAutoNum type="arabicPeriod"/>
            </a:pPr>
            <a:r>
              <a:rPr lang="en-US" sz="1600" b="1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Transparency</a:t>
            </a:r>
            <a:r>
              <a:rPr lang="en-US" sz="16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 – giving management the visibility and analysis needed to make decisions</a:t>
            </a:r>
            <a:endParaRPr dirty="0">
              <a:latin typeface="Avenir Next LT Pro" panose="020B0504020202020204" pitchFamily="34" charset="77"/>
            </a:endParaRPr>
          </a:p>
          <a:p>
            <a:pPr marL="457200" marR="0" lvl="0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+mj-lt"/>
              <a:buAutoNum type="arabicPeriod"/>
            </a:pPr>
            <a:endParaRPr sz="1600" b="0" i="0" u="none" strike="noStrike" cap="none" dirty="0">
              <a:solidFill>
                <a:srgbClr val="4C4846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600"/>
              <a:buFont typeface="Avenir"/>
              <a:buAutoNum type="arabicPeriod"/>
            </a:pPr>
            <a:r>
              <a:rPr lang="en-US" sz="1600" b="1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Comprehensiveness</a:t>
            </a:r>
            <a:r>
              <a:rPr lang="en-US" sz="16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 – supporting all revenue generating and customer facing functions of the business</a:t>
            </a:r>
            <a:endParaRPr dirty="0">
              <a:latin typeface="Avenir Next LT Pro" panose="020B0504020202020204" pitchFamily="34" charset="77"/>
            </a:endParaRPr>
          </a:p>
        </p:txBody>
      </p:sp>
      <p:pic>
        <p:nvPicPr>
          <p:cNvPr id="3" name="Google Shape;84;p4">
            <a:extLst>
              <a:ext uri="{FF2B5EF4-FFF2-40B4-BE49-F238E27FC236}">
                <a16:creationId xmlns:a16="http://schemas.microsoft.com/office/drawing/2014/main" id="{A9C3590E-ED51-B95B-071A-04504E5D40C7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467600" y="1340482"/>
            <a:ext cx="4415872" cy="444774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AB36A7C-1078-4A24-C281-A291E2C1B696}"/>
              </a:ext>
            </a:extLst>
          </p:cNvPr>
          <p:cNvSpPr txBox="1"/>
          <p:nvPr/>
        </p:nvSpPr>
        <p:spPr>
          <a:xfrm>
            <a:off x="7467600" y="5790070"/>
            <a:ext cx="51377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i="1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* Benchmark ranges from a recent SBI analysis of B2B selling organizations </a:t>
            </a:r>
            <a:endParaRPr lang="en-US" sz="1200" i="1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F9B43D8-9FD0-096A-8F25-86FD335C41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4837185"/>
            <a:ext cx="6136128" cy="1251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734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>
            <a:extLst>
              <a:ext uri="{FF2B5EF4-FFF2-40B4-BE49-F238E27FC236}">
                <a16:creationId xmlns:a16="http://schemas.microsoft.com/office/drawing/2014/main" id="{16F46BA7-AD4A-3B2D-4E70-FC0E0E37669D}"/>
              </a:ext>
            </a:extLst>
          </p:cNvPr>
          <p:cNvSpPr/>
          <p:nvPr/>
        </p:nvSpPr>
        <p:spPr>
          <a:xfrm>
            <a:off x="0" y="1107803"/>
            <a:ext cx="121920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DC499122-2D48-0C4F-0EA1-1035521EB31E}"/>
              </a:ext>
            </a:extLst>
          </p:cNvPr>
          <p:cNvSpPr/>
          <p:nvPr/>
        </p:nvSpPr>
        <p:spPr>
          <a:xfrm>
            <a:off x="7720860" y="1107802"/>
            <a:ext cx="4012501" cy="49365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7AB7DFB5-EC4C-A803-5A9D-91AD9F5AA096}"/>
              </a:ext>
            </a:extLst>
          </p:cNvPr>
          <p:cNvSpPr/>
          <p:nvPr/>
        </p:nvSpPr>
        <p:spPr>
          <a:xfrm>
            <a:off x="608150" y="1107803"/>
            <a:ext cx="6135054" cy="49365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1DF0192-EE96-780A-31E6-44E8D918E755}"/>
              </a:ext>
            </a:extLst>
          </p:cNvPr>
          <p:cNvSpPr/>
          <p:nvPr/>
        </p:nvSpPr>
        <p:spPr>
          <a:xfrm>
            <a:off x="7724326" y="1108483"/>
            <a:ext cx="4012502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venue Operations Structure</a:t>
            </a:r>
            <a:endParaRPr lang="en-US" dirty="0">
              <a:latin typeface="Avenir Next LT Pro" panose="020B0504020202020204" pitchFamily="34" charset="77"/>
            </a:endParaRPr>
          </a:p>
        </p:txBody>
      </p:sp>
      <p:grpSp>
        <p:nvGrpSpPr>
          <p:cNvPr id="2" name="Google Shape;130;p5">
            <a:extLst>
              <a:ext uri="{FF2B5EF4-FFF2-40B4-BE49-F238E27FC236}">
                <a16:creationId xmlns:a16="http://schemas.microsoft.com/office/drawing/2014/main" id="{DA4BBE2F-6078-9D60-48D3-9B41CEB6C482}"/>
              </a:ext>
            </a:extLst>
          </p:cNvPr>
          <p:cNvGrpSpPr/>
          <p:nvPr/>
        </p:nvGrpSpPr>
        <p:grpSpPr>
          <a:xfrm>
            <a:off x="746843" y="2267370"/>
            <a:ext cx="5860016" cy="3111092"/>
            <a:chOff x="670640" y="2445952"/>
            <a:chExt cx="5860016" cy="3111092"/>
          </a:xfrm>
        </p:grpSpPr>
        <p:sp>
          <p:nvSpPr>
            <p:cNvPr id="3" name="Google Shape;131;p5">
              <a:extLst>
                <a:ext uri="{FF2B5EF4-FFF2-40B4-BE49-F238E27FC236}">
                  <a16:creationId xmlns:a16="http://schemas.microsoft.com/office/drawing/2014/main" id="{68723E55-5ED6-9730-6983-BD43E0E83EC0}"/>
                </a:ext>
              </a:extLst>
            </p:cNvPr>
            <p:cNvSpPr/>
            <p:nvPr/>
          </p:nvSpPr>
          <p:spPr>
            <a:xfrm>
              <a:off x="670642" y="2445952"/>
              <a:ext cx="1726938" cy="7246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VP</a:t>
              </a:r>
              <a:endParaRPr sz="1000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Marketing</a:t>
              </a:r>
              <a:endParaRPr sz="1000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" name="Google Shape;132;p5">
              <a:extLst>
                <a:ext uri="{FF2B5EF4-FFF2-40B4-BE49-F238E27FC236}">
                  <a16:creationId xmlns:a16="http://schemas.microsoft.com/office/drawing/2014/main" id="{F0542DB2-F1D7-E644-B19A-02FC3A326637}"/>
                </a:ext>
              </a:extLst>
            </p:cNvPr>
            <p:cNvSpPr/>
            <p:nvPr/>
          </p:nvSpPr>
          <p:spPr>
            <a:xfrm>
              <a:off x="670641" y="3666753"/>
              <a:ext cx="727787" cy="494965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Demand 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Gen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" name="Google Shape;133;p5">
              <a:extLst>
                <a:ext uri="{FF2B5EF4-FFF2-40B4-BE49-F238E27FC236}">
                  <a16:creationId xmlns:a16="http://schemas.microsoft.com/office/drawing/2014/main" id="{57CACEB0-DF06-19AB-6A14-7F9E6C9D7D05}"/>
                </a:ext>
              </a:extLst>
            </p:cNvPr>
            <p:cNvSpPr/>
            <p:nvPr/>
          </p:nvSpPr>
          <p:spPr>
            <a:xfrm>
              <a:off x="670640" y="4246831"/>
              <a:ext cx="727787" cy="494965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Product Marketing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" name="Google Shape;134;p5">
              <a:extLst>
                <a:ext uri="{FF2B5EF4-FFF2-40B4-BE49-F238E27FC236}">
                  <a16:creationId xmlns:a16="http://schemas.microsoft.com/office/drawing/2014/main" id="{74E140B5-3C39-C545-1372-6C0933F95B2C}"/>
                </a:ext>
              </a:extLst>
            </p:cNvPr>
            <p:cNvSpPr/>
            <p:nvPr/>
          </p:nvSpPr>
          <p:spPr>
            <a:xfrm>
              <a:off x="670641" y="4826909"/>
              <a:ext cx="727787" cy="494965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Field Marketing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cxnSp>
          <p:nvCxnSpPr>
            <p:cNvPr id="8" name="Google Shape;135;p5">
              <a:extLst>
                <a:ext uri="{FF2B5EF4-FFF2-40B4-BE49-F238E27FC236}">
                  <a16:creationId xmlns:a16="http://schemas.microsoft.com/office/drawing/2014/main" id="{7D83CF1D-901F-B398-92DD-190472BD0D5F}"/>
                </a:ext>
              </a:extLst>
            </p:cNvPr>
            <p:cNvCxnSpPr>
              <a:stCxn id="3" idx="2"/>
            </p:cNvCxnSpPr>
            <p:nvPr/>
          </p:nvCxnSpPr>
          <p:spPr>
            <a:xfrm flipH="1">
              <a:off x="1525111" y="3170630"/>
              <a:ext cx="9000" cy="213900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Google Shape;136;p5">
              <a:extLst>
                <a:ext uri="{FF2B5EF4-FFF2-40B4-BE49-F238E27FC236}">
                  <a16:creationId xmlns:a16="http://schemas.microsoft.com/office/drawing/2014/main" id="{0B3982D3-53DD-C377-4E42-D1141E736910}"/>
                </a:ext>
              </a:extLst>
            </p:cNvPr>
            <p:cNvSpPr/>
            <p:nvPr/>
          </p:nvSpPr>
          <p:spPr>
            <a:xfrm>
              <a:off x="1669793" y="3390761"/>
              <a:ext cx="727787" cy="494965"/>
            </a:xfrm>
            <a:prstGeom prst="rect">
              <a:avLst/>
            </a:prstGeom>
            <a:solidFill>
              <a:schemeClr val="accent3"/>
            </a:solidFill>
            <a:ln w="1905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Marketing Ops</a:t>
              </a:r>
              <a:endParaRPr sz="900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" name="Google Shape;137;p5">
              <a:extLst>
                <a:ext uri="{FF2B5EF4-FFF2-40B4-BE49-F238E27FC236}">
                  <a16:creationId xmlns:a16="http://schemas.microsoft.com/office/drawing/2014/main" id="{ECB745ED-EE6B-57B2-7057-B9AB774D8393}"/>
                </a:ext>
              </a:extLst>
            </p:cNvPr>
            <p:cNvSpPr/>
            <p:nvPr/>
          </p:nvSpPr>
          <p:spPr>
            <a:xfrm>
              <a:off x="1669793" y="4504973"/>
              <a:ext cx="727787" cy="494965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Marcom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" name="Google Shape;138;p5">
              <a:extLst>
                <a:ext uri="{FF2B5EF4-FFF2-40B4-BE49-F238E27FC236}">
                  <a16:creationId xmlns:a16="http://schemas.microsoft.com/office/drawing/2014/main" id="{66A1440E-943A-DA80-4E4B-3EB0A2183641}"/>
                </a:ext>
              </a:extLst>
            </p:cNvPr>
            <p:cNvSpPr/>
            <p:nvPr/>
          </p:nvSpPr>
          <p:spPr>
            <a:xfrm>
              <a:off x="1669793" y="5062079"/>
              <a:ext cx="727787" cy="494965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Lead Management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cxnSp>
          <p:nvCxnSpPr>
            <p:cNvPr id="12" name="Google Shape;139;p5">
              <a:extLst>
                <a:ext uri="{FF2B5EF4-FFF2-40B4-BE49-F238E27FC236}">
                  <a16:creationId xmlns:a16="http://schemas.microsoft.com/office/drawing/2014/main" id="{078DC8F3-4452-C56D-3C42-3D4B393BAC3E}"/>
                </a:ext>
              </a:extLst>
            </p:cNvPr>
            <p:cNvCxnSpPr/>
            <p:nvPr/>
          </p:nvCxnSpPr>
          <p:spPr>
            <a:xfrm>
              <a:off x="1398428" y="5044533"/>
              <a:ext cx="126742" cy="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oogle Shape;140;p5">
              <a:extLst>
                <a:ext uri="{FF2B5EF4-FFF2-40B4-BE49-F238E27FC236}">
                  <a16:creationId xmlns:a16="http://schemas.microsoft.com/office/drawing/2014/main" id="{296DFA69-EB26-0FCD-EEDA-CC40C4A59D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98428" y="4496741"/>
              <a:ext cx="135683" cy="2995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oogle Shape;141;p5">
              <a:extLst>
                <a:ext uri="{FF2B5EF4-FFF2-40B4-BE49-F238E27FC236}">
                  <a16:creationId xmlns:a16="http://schemas.microsoft.com/office/drawing/2014/main" id="{4CD13388-BB80-B79E-9F60-166FAD7AF616}"/>
                </a:ext>
              </a:extLst>
            </p:cNvPr>
            <p:cNvCxnSpPr/>
            <p:nvPr/>
          </p:nvCxnSpPr>
          <p:spPr>
            <a:xfrm>
              <a:off x="1398428" y="3939089"/>
              <a:ext cx="126742" cy="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oogle Shape;142;p5">
              <a:extLst>
                <a:ext uri="{FF2B5EF4-FFF2-40B4-BE49-F238E27FC236}">
                  <a16:creationId xmlns:a16="http://schemas.microsoft.com/office/drawing/2014/main" id="{733B3DAA-74AD-CDDF-DB3A-1DCADD7ECA1E}"/>
                </a:ext>
              </a:extLst>
            </p:cNvPr>
            <p:cNvCxnSpPr/>
            <p:nvPr/>
          </p:nvCxnSpPr>
          <p:spPr>
            <a:xfrm>
              <a:off x="1525169" y="4190548"/>
              <a:ext cx="144624" cy="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oogle Shape;143;p5">
              <a:extLst>
                <a:ext uri="{FF2B5EF4-FFF2-40B4-BE49-F238E27FC236}">
                  <a16:creationId xmlns:a16="http://schemas.microsoft.com/office/drawing/2014/main" id="{123C6CE6-8403-3BF6-D341-B45895C46FFF}"/>
                </a:ext>
              </a:extLst>
            </p:cNvPr>
            <p:cNvCxnSpPr/>
            <p:nvPr/>
          </p:nvCxnSpPr>
          <p:spPr>
            <a:xfrm>
              <a:off x="1525169" y="3663523"/>
              <a:ext cx="144624" cy="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oogle Shape;144;p5">
              <a:extLst>
                <a:ext uri="{FF2B5EF4-FFF2-40B4-BE49-F238E27FC236}">
                  <a16:creationId xmlns:a16="http://schemas.microsoft.com/office/drawing/2014/main" id="{930AF7DF-8ECB-54D8-A696-3324912AE1E8}"/>
                </a:ext>
              </a:extLst>
            </p:cNvPr>
            <p:cNvCxnSpPr/>
            <p:nvPr/>
          </p:nvCxnSpPr>
          <p:spPr>
            <a:xfrm>
              <a:off x="1525169" y="5307990"/>
              <a:ext cx="144624" cy="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oogle Shape;145;p5">
              <a:extLst>
                <a:ext uri="{FF2B5EF4-FFF2-40B4-BE49-F238E27FC236}">
                  <a16:creationId xmlns:a16="http://schemas.microsoft.com/office/drawing/2014/main" id="{CF4CE5DD-7712-99C1-DE52-739762F8006E}"/>
                </a:ext>
              </a:extLst>
            </p:cNvPr>
            <p:cNvCxnSpPr/>
            <p:nvPr/>
          </p:nvCxnSpPr>
          <p:spPr>
            <a:xfrm>
              <a:off x="1525170" y="4780965"/>
              <a:ext cx="144623" cy="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Google Shape;146;p5">
              <a:extLst>
                <a:ext uri="{FF2B5EF4-FFF2-40B4-BE49-F238E27FC236}">
                  <a16:creationId xmlns:a16="http://schemas.microsoft.com/office/drawing/2014/main" id="{81DE25EE-4CEE-1542-7525-B92A45447D66}"/>
                </a:ext>
              </a:extLst>
            </p:cNvPr>
            <p:cNvSpPr/>
            <p:nvPr/>
          </p:nvSpPr>
          <p:spPr>
            <a:xfrm>
              <a:off x="2730537" y="2445952"/>
              <a:ext cx="1726937" cy="7246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VP</a:t>
              </a:r>
              <a:endParaRPr sz="1000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Sales</a:t>
              </a:r>
              <a:endParaRPr sz="1000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" name="Google Shape;147;p5">
              <a:extLst>
                <a:ext uri="{FF2B5EF4-FFF2-40B4-BE49-F238E27FC236}">
                  <a16:creationId xmlns:a16="http://schemas.microsoft.com/office/drawing/2014/main" id="{AB020A41-4ADF-3BFC-622C-FEF7F286E4EA}"/>
                </a:ext>
              </a:extLst>
            </p:cNvPr>
            <p:cNvSpPr/>
            <p:nvPr/>
          </p:nvSpPr>
          <p:spPr>
            <a:xfrm>
              <a:off x="2734881" y="3666753"/>
              <a:ext cx="727787" cy="494965"/>
            </a:xfrm>
            <a:prstGeom prst="rect">
              <a:avLst/>
            </a:prstGeom>
            <a:solidFill>
              <a:schemeClr val="accent2"/>
            </a:solidFill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b="1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Sales Operations</a:t>
              </a:r>
              <a:endParaRPr sz="900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" name="Google Shape;148;p5">
              <a:extLst>
                <a:ext uri="{FF2B5EF4-FFF2-40B4-BE49-F238E27FC236}">
                  <a16:creationId xmlns:a16="http://schemas.microsoft.com/office/drawing/2014/main" id="{598C140B-ACB9-D5D0-9333-0019501D1523}"/>
                </a:ext>
              </a:extLst>
            </p:cNvPr>
            <p:cNvSpPr/>
            <p:nvPr/>
          </p:nvSpPr>
          <p:spPr>
            <a:xfrm>
              <a:off x="2734881" y="4223859"/>
              <a:ext cx="727787" cy="494965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AEs / BDRs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" name="Google Shape;149;p5">
              <a:extLst>
                <a:ext uri="{FF2B5EF4-FFF2-40B4-BE49-F238E27FC236}">
                  <a16:creationId xmlns:a16="http://schemas.microsoft.com/office/drawing/2014/main" id="{5E85FF29-CEC1-0C5B-8436-9A62BDC00301}"/>
                </a:ext>
              </a:extLst>
            </p:cNvPr>
            <p:cNvSpPr/>
            <p:nvPr/>
          </p:nvSpPr>
          <p:spPr>
            <a:xfrm>
              <a:off x="2734881" y="4801893"/>
              <a:ext cx="727787" cy="494965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Solution Engineers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cxnSp>
          <p:nvCxnSpPr>
            <p:cNvPr id="23" name="Google Shape;150;p5">
              <a:extLst>
                <a:ext uri="{FF2B5EF4-FFF2-40B4-BE49-F238E27FC236}">
                  <a16:creationId xmlns:a16="http://schemas.microsoft.com/office/drawing/2014/main" id="{9E1F7285-7868-52F2-60A6-3967BAF3ED91}"/>
                </a:ext>
              </a:extLst>
            </p:cNvPr>
            <p:cNvCxnSpPr>
              <a:stCxn id="19" idx="2"/>
            </p:cNvCxnSpPr>
            <p:nvPr/>
          </p:nvCxnSpPr>
          <p:spPr>
            <a:xfrm>
              <a:off x="3594005" y="3170630"/>
              <a:ext cx="13200" cy="189150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Google Shape;151;p5">
              <a:extLst>
                <a:ext uri="{FF2B5EF4-FFF2-40B4-BE49-F238E27FC236}">
                  <a16:creationId xmlns:a16="http://schemas.microsoft.com/office/drawing/2014/main" id="{45265F9F-44A5-3558-C9EA-75B7F22C9FFF}"/>
                </a:ext>
              </a:extLst>
            </p:cNvPr>
            <p:cNvSpPr/>
            <p:nvPr/>
          </p:nvSpPr>
          <p:spPr>
            <a:xfrm>
              <a:off x="1667837" y="3947867"/>
              <a:ext cx="727787" cy="494965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Sales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Support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" name="Google Shape;152;p5">
              <a:extLst>
                <a:ext uri="{FF2B5EF4-FFF2-40B4-BE49-F238E27FC236}">
                  <a16:creationId xmlns:a16="http://schemas.microsoft.com/office/drawing/2014/main" id="{C563FE17-1147-A426-456B-FDA6579385C8}"/>
                </a:ext>
              </a:extLst>
            </p:cNvPr>
            <p:cNvSpPr/>
            <p:nvPr/>
          </p:nvSpPr>
          <p:spPr>
            <a:xfrm>
              <a:off x="3730195" y="4227687"/>
              <a:ext cx="784736" cy="493117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Sales Enablement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cxnSp>
          <p:nvCxnSpPr>
            <p:cNvPr id="26" name="Google Shape;153;p5">
              <a:extLst>
                <a:ext uri="{FF2B5EF4-FFF2-40B4-BE49-F238E27FC236}">
                  <a16:creationId xmlns:a16="http://schemas.microsoft.com/office/drawing/2014/main" id="{3E42AD22-2427-4934-4479-E93E299A9CFD}"/>
                </a:ext>
              </a:extLst>
            </p:cNvPr>
            <p:cNvCxnSpPr/>
            <p:nvPr/>
          </p:nvCxnSpPr>
          <p:spPr>
            <a:xfrm>
              <a:off x="3462668" y="3939089"/>
              <a:ext cx="126742" cy="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oogle Shape;155;p5">
              <a:extLst>
                <a:ext uri="{FF2B5EF4-FFF2-40B4-BE49-F238E27FC236}">
                  <a16:creationId xmlns:a16="http://schemas.microsoft.com/office/drawing/2014/main" id="{8A9FB0BD-8EC8-5ACD-B212-D98E78DDFA10}"/>
                </a:ext>
              </a:extLst>
            </p:cNvPr>
            <p:cNvCxnSpPr/>
            <p:nvPr/>
          </p:nvCxnSpPr>
          <p:spPr>
            <a:xfrm>
              <a:off x="3589410" y="3941736"/>
              <a:ext cx="144623" cy="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Google Shape;156;p5">
              <a:extLst>
                <a:ext uri="{FF2B5EF4-FFF2-40B4-BE49-F238E27FC236}">
                  <a16:creationId xmlns:a16="http://schemas.microsoft.com/office/drawing/2014/main" id="{515DC4D7-605A-5832-650B-CF79FE3963F2}"/>
                </a:ext>
              </a:extLst>
            </p:cNvPr>
            <p:cNvSpPr/>
            <p:nvPr/>
          </p:nvSpPr>
          <p:spPr>
            <a:xfrm>
              <a:off x="4785836" y="2445952"/>
              <a:ext cx="1744820" cy="724678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 b="1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VP</a:t>
              </a:r>
              <a:endParaRPr sz="1000" b="1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 b="1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Customer Success</a:t>
              </a:r>
              <a:endParaRPr sz="1000" b="1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" name="Google Shape;157;p5">
              <a:extLst>
                <a:ext uri="{FF2B5EF4-FFF2-40B4-BE49-F238E27FC236}">
                  <a16:creationId xmlns:a16="http://schemas.microsoft.com/office/drawing/2014/main" id="{9441BE0B-D16E-8DF9-4867-C1F49AEE9D5B}"/>
                </a:ext>
              </a:extLst>
            </p:cNvPr>
            <p:cNvSpPr/>
            <p:nvPr/>
          </p:nvSpPr>
          <p:spPr>
            <a:xfrm>
              <a:off x="4803717" y="3511965"/>
              <a:ext cx="727787" cy="649754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tx1">
                  <a:lumMod val="10000"/>
                  <a:lumOff val="9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Sr. Customer Success Managers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cxnSp>
          <p:nvCxnSpPr>
            <p:cNvPr id="31" name="Google Shape;158;p5">
              <a:extLst>
                <a:ext uri="{FF2B5EF4-FFF2-40B4-BE49-F238E27FC236}">
                  <a16:creationId xmlns:a16="http://schemas.microsoft.com/office/drawing/2014/main" id="{AA9B86BD-AFDA-8B3A-78EA-2EA9C186C388}"/>
                </a:ext>
              </a:extLst>
            </p:cNvPr>
            <p:cNvCxnSpPr>
              <a:stCxn id="29" idx="2"/>
            </p:cNvCxnSpPr>
            <p:nvPr/>
          </p:nvCxnSpPr>
          <p:spPr>
            <a:xfrm>
              <a:off x="5658246" y="3170630"/>
              <a:ext cx="0" cy="140820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Google Shape;159;p5">
              <a:extLst>
                <a:ext uri="{FF2B5EF4-FFF2-40B4-BE49-F238E27FC236}">
                  <a16:creationId xmlns:a16="http://schemas.microsoft.com/office/drawing/2014/main" id="{7315A05B-594F-4516-5B6F-5FFB5F7BF159}"/>
                </a:ext>
              </a:extLst>
            </p:cNvPr>
            <p:cNvSpPr/>
            <p:nvPr/>
          </p:nvSpPr>
          <p:spPr>
            <a:xfrm>
              <a:off x="5802869" y="3398790"/>
              <a:ext cx="727787" cy="493776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tx1">
                  <a:lumMod val="10000"/>
                  <a:lumOff val="9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Sr. CSM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" name="Google Shape;160;p5">
              <a:extLst>
                <a:ext uri="{FF2B5EF4-FFF2-40B4-BE49-F238E27FC236}">
                  <a16:creationId xmlns:a16="http://schemas.microsoft.com/office/drawing/2014/main" id="{824414B1-F67F-C431-3F73-954B7B7D4C79}"/>
                </a:ext>
              </a:extLst>
            </p:cNvPr>
            <p:cNvSpPr/>
            <p:nvPr/>
          </p:nvSpPr>
          <p:spPr>
            <a:xfrm>
              <a:off x="5802869" y="3947867"/>
              <a:ext cx="727787" cy="494965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tx1">
                  <a:lumMod val="10000"/>
                  <a:lumOff val="9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CSM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cxnSp>
          <p:nvCxnSpPr>
            <p:cNvPr id="34" name="Google Shape;161;p5">
              <a:extLst>
                <a:ext uri="{FF2B5EF4-FFF2-40B4-BE49-F238E27FC236}">
                  <a16:creationId xmlns:a16="http://schemas.microsoft.com/office/drawing/2014/main" id="{EC71A834-5B21-F70A-460C-63010D2A07CC}"/>
                </a:ext>
              </a:extLst>
            </p:cNvPr>
            <p:cNvCxnSpPr/>
            <p:nvPr/>
          </p:nvCxnSpPr>
          <p:spPr>
            <a:xfrm>
              <a:off x="5531504" y="3939089"/>
              <a:ext cx="126742" cy="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oogle Shape;162;p5">
              <a:extLst>
                <a:ext uri="{FF2B5EF4-FFF2-40B4-BE49-F238E27FC236}">
                  <a16:creationId xmlns:a16="http://schemas.microsoft.com/office/drawing/2014/main" id="{D2F53CD5-8D4B-4E5F-3565-77E00B89758C}"/>
                </a:ext>
              </a:extLst>
            </p:cNvPr>
            <p:cNvCxnSpPr/>
            <p:nvPr/>
          </p:nvCxnSpPr>
          <p:spPr>
            <a:xfrm>
              <a:off x="5658246" y="4190548"/>
              <a:ext cx="144623" cy="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oogle Shape;163;p5">
              <a:extLst>
                <a:ext uri="{FF2B5EF4-FFF2-40B4-BE49-F238E27FC236}">
                  <a16:creationId xmlns:a16="http://schemas.microsoft.com/office/drawing/2014/main" id="{EB77E039-161E-689C-2C2A-02B1E9C34737}"/>
                </a:ext>
              </a:extLst>
            </p:cNvPr>
            <p:cNvCxnSpPr/>
            <p:nvPr/>
          </p:nvCxnSpPr>
          <p:spPr>
            <a:xfrm>
              <a:off x="5658246" y="3663523"/>
              <a:ext cx="144623" cy="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Google Shape;164;p5">
              <a:extLst>
                <a:ext uri="{FF2B5EF4-FFF2-40B4-BE49-F238E27FC236}">
                  <a16:creationId xmlns:a16="http://schemas.microsoft.com/office/drawing/2014/main" id="{37B8EC47-8D37-C69A-F676-562D74CAF596}"/>
                </a:ext>
              </a:extLst>
            </p:cNvPr>
            <p:cNvSpPr/>
            <p:nvPr/>
          </p:nvSpPr>
          <p:spPr>
            <a:xfrm>
              <a:off x="3738542" y="4801893"/>
              <a:ext cx="784736" cy="494965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4C4846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Sales Admin</a:t>
              </a:r>
              <a:endParaRPr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38" name="Google Shape;169;p5">
            <a:extLst>
              <a:ext uri="{FF2B5EF4-FFF2-40B4-BE49-F238E27FC236}">
                <a16:creationId xmlns:a16="http://schemas.microsoft.com/office/drawing/2014/main" id="{2E5A6F50-B03D-13AC-3623-1E41ACFEA03F}"/>
              </a:ext>
            </a:extLst>
          </p:cNvPr>
          <p:cNvSpPr/>
          <p:nvPr/>
        </p:nvSpPr>
        <p:spPr>
          <a:xfrm>
            <a:off x="3797451" y="3490052"/>
            <a:ext cx="784736" cy="491202"/>
          </a:xfrm>
          <a:prstGeom prst="rect">
            <a:avLst/>
          </a:prstGeom>
          <a:solidFill>
            <a:schemeClr val="bg1"/>
          </a:solidFill>
          <a:ln w="1905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Sales Management</a:t>
            </a:r>
            <a:endParaRPr sz="900" dirty="0">
              <a:solidFill>
                <a:srgbClr val="4C4846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39" name="Google Shape;167;p5">
            <a:extLst>
              <a:ext uri="{FF2B5EF4-FFF2-40B4-BE49-F238E27FC236}">
                <a16:creationId xmlns:a16="http://schemas.microsoft.com/office/drawing/2014/main" id="{A4F5C8C5-9C28-18C7-FD18-0673F2AD068B}"/>
              </a:ext>
            </a:extLst>
          </p:cNvPr>
          <p:cNvSpPr/>
          <p:nvPr/>
        </p:nvSpPr>
        <p:spPr>
          <a:xfrm>
            <a:off x="4879920" y="4095947"/>
            <a:ext cx="727787" cy="49496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 cap="flat" cmpd="sng">
            <a:solidFill>
              <a:srgbClr val="E0E3E6"/>
            </a:solidFill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chemeClr val="dk2">
                <a:alpha val="3529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Arial"/>
              <a:buNone/>
            </a:pPr>
            <a:r>
              <a:rPr lang="en-US" sz="900" b="1" i="0" u="none" strike="noStrike" cap="none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CS Ops</a:t>
            </a:r>
            <a:endParaRPr sz="900" b="1" dirty="0">
              <a:solidFill>
                <a:srgbClr val="161718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cxnSp>
        <p:nvCxnSpPr>
          <p:cNvPr id="40" name="Google Shape;168;p5">
            <a:extLst>
              <a:ext uri="{FF2B5EF4-FFF2-40B4-BE49-F238E27FC236}">
                <a16:creationId xmlns:a16="http://schemas.microsoft.com/office/drawing/2014/main" id="{3FE4FF0E-66E3-97D4-DF1C-4A71C26EFAD7}"/>
              </a:ext>
            </a:extLst>
          </p:cNvPr>
          <p:cNvCxnSpPr/>
          <p:nvPr/>
        </p:nvCxnSpPr>
        <p:spPr>
          <a:xfrm>
            <a:off x="5607707" y="4387311"/>
            <a:ext cx="126742" cy="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oogle Shape;153;p5">
            <a:extLst>
              <a:ext uri="{FF2B5EF4-FFF2-40B4-BE49-F238E27FC236}">
                <a16:creationId xmlns:a16="http://schemas.microsoft.com/office/drawing/2014/main" id="{F7A667D0-0220-517C-CAC7-B3FECC2630C8}"/>
              </a:ext>
            </a:extLst>
          </p:cNvPr>
          <p:cNvCxnSpPr/>
          <p:nvPr/>
        </p:nvCxnSpPr>
        <p:spPr>
          <a:xfrm>
            <a:off x="3550066" y="4292759"/>
            <a:ext cx="126742" cy="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oogle Shape;153;p5">
            <a:extLst>
              <a:ext uri="{FF2B5EF4-FFF2-40B4-BE49-F238E27FC236}">
                <a16:creationId xmlns:a16="http://schemas.microsoft.com/office/drawing/2014/main" id="{0C7962BE-6E10-8521-337D-58DA3352BABD}"/>
              </a:ext>
            </a:extLst>
          </p:cNvPr>
          <p:cNvCxnSpPr>
            <a:cxnSpLocks/>
          </p:cNvCxnSpPr>
          <p:nvPr/>
        </p:nvCxnSpPr>
        <p:spPr>
          <a:xfrm>
            <a:off x="3683408" y="4291392"/>
            <a:ext cx="126742" cy="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oogle Shape;153;p5">
            <a:extLst>
              <a:ext uri="{FF2B5EF4-FFF2-40B4-BE49-F238E27FC236}">
                <a16:creationId xmlns:a16="http://schemas.microsoft.com/office/drawing/2014/main" id="{6257D0D0-4507-BD72-04B1-2151F89595AF}"/>
              </a:ext>
            </a:extLst>
          </p:cNvPr>
          <p:cNvCxnSpPr>
            <a:cxnSpLocks/>
            <a:endCxn id="37" idx="1"/>
          </p:cNvCxnSpPr>
          <p:nvPr/>
        </p:nvCxnSpPr>
        <p:spPr>
          <a:xfrm flipV="1">
            <a:off x="3538871" y="4870794"/>
            <a:ext cx="275874" cy="35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88354B0C-C2D0-2C10-6861-3B153FE95ACF}"/>
              </a:ext>
            </a:extLst>
          </p:cNvPr>
          <p:cNvSpPr/>
          <p:nvPr/>
        </p:nvSpPr>
        <p:spPr>
          <a:xfrm>
            <a:off x="608150" y="1108483"/>
            <a:ext cx="6123013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0" name="Google Shape;103;p5">
            <a:extLst>
              <a:ext uri="{FF2B5EF4-FFF2-40B4-BE49-F238E27FC236}">
                <a16:creationId xmlns:a16="http://schemas.microsoft.com/office/drawing/2014/main" id="{946706A1-04F4-04F1-5F70-7AACC6DA3063}"/>
              </a:ext>
            </a:extLst>
          </p:cNvPr>
          <p:cNvGrpSpPr/>
          <p:nvPr/>
        </p:nvGrpSpPr>
        <p:grpSpPr>
          <a:xfrm>
            <a:off x="7896960" y="2267370"/>
            <a:ext cx="3470987" cy="3029377"/>
            <a:chOff x="7859136" y="2383285"/>
            <a:chExt cx="3470987" cy="3029377"/>
          </a:xfrm>
        </p:grpSpPr>
        <p:sp>
          <p:nvSpPr>
            <p:cNvPr id="51" name="Google Shape;104;p5">
              <a:extLst>
                <a:ext uri="{FF2B5EF4-FFF2-40B4-BE49-F238E27FC236}">
                  <a16:creationId xmlns:a16="http://schemas.microsoft.com/office/drawing/2014/main" id="{210633F7-8CE4-6C99-5FF6-BEE878652377}"/>
                </a:ext>
              </a:extLst>
            </p:cNvPr>
            <p:cNvSpPr/>
            <p:nvPr/>
          </p:nvSpPr>
          <p:spPr>
            <a:xfrm>
              <a:off x="7859136" y="2383285"/>
              <a:ext cx="727787" cy="7246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 b="1" dirty="0">
                  <a:solidFill>
                    <a:srgbClr val="FFFFFF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VP</a:t>
              </a:r>
              <a:endParaRPr sz="1000" b="1" dirty="0">
                <a:solidFill>
                  <a:srgbClr val="FFFFFF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 b="1" dirty="0">
                  <a:solidFill>
                    <a:srgbClr val="FFFFFF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Marketing</a:t>
              </a:r>
              <a:endParaRPr sz="1000" b="1" dirty="0">
                <a:solidFill>
                  <a:srgbClr val="FFFFFF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" name="Google Shape;105;p5">
              <a:extLst>
                <a:ext uri="{FF2B5EF4-FFF2-40B4-BE49-F238E27FC236}">
                  <a16:creationId xmlns:a16="http://schemas.microsoft.com/office/drawing/2014/main" id="{9943BAF7-3389-2C31-7729-58DB2612061D}"/>
                </a:ext>
              </a:extLst>
            </p:cNvPr>
            <p:cNvSpPr/>
            <p:nvPr/>
          </p:nvSpPr>
          <p:spPr>
            <a:xfrm>
              <a:off x="8773536" y="2383285"/>
              <a:ext cx="727787" cy="7246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VP</a:t>
              </a:r>
              <a:endParaRPr sz="1000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Sales</a:t>
              </a:r>
              <a:endParaRPr sz="1000" b="1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" name="Google Shape;106;p5">
              <a:extLst>
                <a:ext uri="{FF2B5EF4-FFF2-40B4-BE49-F238E27FC236}">
                  <a16:creationId xmlns:a16="http://schemas.microsoft.com/office/drawing/2014/main" id="{2D8D16C0-26C3-4BEA-2E4E-5C98F334CC75}"/>
                </a:ext>
              </a:extLst>
            </p:cNvPr>
            <p:cNvSpPr/>
            <p:nvPr/>
          </p:nvSpPr>
          <p:spPr>
            <a:xfrm>
              <a:off x="9687936" y="2383285"/>
              <a:ext cx="727787" cy="724678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 dirty="0">
                  <a:solidFill>
                    <a:schemeClr val="bg2">
                      <a:lumMod val="25000"/>
                    </a:schemeClr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VP</a:t>
              </a:r>
              <a:endParaRPr sz="1000" b="1" dirty="0">
                <a:solidFill>
                  <a:schemeClr val="bg2">
                    <a:lumMod val="25000"/>
                  </a:schemeClr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 dirty="0">
                  <a:solidFill>
                    <a:schemeClr val="bg2">
                      <a:lumMod val="25000"/>
                    </a:schemeClr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Customer Success</a:t>
              </a:r>
              <a:endParaRPr sz="1000" b="1" dirty="0">
                <a:solidFill>
                  <a:schemeClr val="bg2">
                    <a:lumMod val="25000"/>
                  </a:schemeClr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" name="Google Shape;107;p5">
              <a:extLst>
                <a:ext uri="{FF2B5EF4-FFF2-40B4-BE49-F238E27FC236}">
                  <a16:creationId xmlns:a16="http://schemas.microsoft.com/office/drawing/2014/main" id="{9CCD9E63-F8CF-88BC-442B-A4EF52CF16D7}"/>
                </a:ext>
              </a:extLst>
            </p:cNvPr>
            <p:cNvSpPr/>
            <p:nvPr/>
          </p:nvSpPr>
          <p:spPr>
            <a:xfrm>
              <a:off x="10602336" y="2383285"/>
              <a:ext cx="727787" cy="724678"/>
            </a:xfrm>
            <a:prstGeom prst="rect">
              <a:avLst/>
            </a:prstGeom>
            <a:solidFill>
              <a:srgbClr val="D8D8D8"/>
            </a:solidFill>
            <a:ln w="9525" cap="flat" cmpd="sng">
              <a:solidFill>
                <a:srgbClr val="E0E3E6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845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 dirty="0">
                  <a:solidFill>
                    <a:srgbClr val="4C4845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VP</a:t>
              </a:r>
              <a:endParaRPr sz="1000" b="1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845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 dirty="0">
                  <a:solidFill>
                    <a:schemeClr val="bg2">
                      <a:lumMod val="25000"/>
                    </a:schemeClr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RevOps</a:t>
              </a:r>
              <a:endParaRPr sz="1000" b="1" i="0" u="none" strike="noStrike" cap="none" dirty="0">
                <a:solidFill>
                  <a:schemeClr val="bg2">
                    <a:lumMod val="25000"/>
                  </a:schemeClr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" name="Google Shape;108;p5">
              <a:extLst>
                <a:ext uri="{FF2B5EF4-FFF2-40B4-BE49-F238E27FC236}">
                  <a16:creationId xmlns:a16="http://schemas.microsoft.com/office/drawing/2014/main" id="{AED63C3B-E20E-DB5A-58B8-E0557E006169}"/>
                </a:ext>
              </a:extLst>
            </p:cNvPr>
            <p:cNvSpPr/>
            <p:nvPr/>
          </p:nvSpPr>
          <p:spPr>
            <a:xfrm>
              <a:off x="7859136" y="3312693"/>
              <a:ext cx="727787" cy="4499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FFFFFF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Demand </a:t>
              </a:r>
              <a:endParaRPr sz="900" dirty="0">
                <a:solidFill>
                  <a:srgbClr val="FFFFFF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FFFFFF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Gen</a:t>
              </a:r>
              <a:endParaRPr sz="900" dirty="0">
                <a:solidFill>
                  <a:srgbClr val="FFFFFF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" name="Google Shape;109;p5">
              <a:extLst>
                <a:ext uri="{FF2B5EF4-FFF2-40B4-BE49-F238E27FC236}">
                  <a16:creationId xmlns:a16="http://schemas.microsoft.com/office/drawing/2014/main" id="{33BCF932-3A93-6617-FC96-AA565A19BF74}"/>
                </a:ext>
              </a:extLst>
            </p:cNvPr>
            <p:cNvSpPr/>
            <p:nvPr/>
          </p:nvSpPr>
          <p:spPr>
            <a:xfrm>
              <a:off x="8773536" y="3312693"/>
              <a:ext cx="727787" cy="4499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000"/>
                <a:buFont typeface="Arial"/>
                <a:buNone/>
              </a:pPr>
              <a:r>
                <a:rPr lang="en-US" sz="900" b="0" i="0" u="none" strike="noStrike" cap="none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Sales Management</a:t>
              </a:r>
              <a:endParaRPr sz="900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" name="Google Shape;110;p5">
              <a:extLst>
                <a:ext uri="{FF2B5EF4-FFF2-40B4-BE49-F238E27FC236}">
                  <a16:creationId xmlns:a16="http://schemas.microsoft.com/office/drawing/2014/main" id="{662DBA73-7E52-6479-03D6-1A981362C279}"/>
                </a:ext>
              </a:extLst>
            </p:cNvPr>
            <p:cNvSpPr/>
            <p:nvPr/>
          </p:nvSpPr>
          <p:spPr>
            <a:xfrm>
              <a:off x="9687936" y="3312693"/>
              <a:ext cx="727787" cy="449968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Arial"/>
                <a:buNone/>
              </a:pPr>
              <a:r>
                <a:rPr lang="en-US" sz="900" b="0" i="0" u="none" strike="noStrike" cap="none" dirty="0">
                  <a:solidFill>
                    <a:srgbClr val="161718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Customer Success Managers</a:t>
              </a:r>
              <a:endParaRPr sz="900" dirty="0">
                <a:solidFill>
                  <a:srgbClr val="161718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" name="Google Shape;111;p5">
              <a:extLst>
                <a:ext uri="{FF2B5EF4-FFF2-40B4-BE49-F238E27FC236}">
                  <a16:creationId xmlns:a16="http://schemas.microsoft.com/office/drawing/2014/main" id="{2A4729EF-64BA-B7C5-339D-7E0349E9CA1B}"/>
                </a:ext>
              </a:extLst>
            </p:cNvPr>
            <p:cNvSpPr/>
            <p:nvPr/>
          </p:nvSpPr>
          <p:spPr>
            <a:xfrm>
              <a:off x="10602336" y="3312693"/>
              <a:ext cx="727787" cy="449968"/>
            </a:xfrm>
            <a:prstGeom prst="rect">
              <a:avLst/>
            </a:prstGeom>
            <a:solidFill>
              <a:srgbClr val="D8D8D8"/>
            </a:solidFill>
            <a:ln w="9525" cap="flat" cmpd="sng">
              <a:solidFill>
                <a:srgbClr val="E0E3E6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845"/>
                </a:buClr>
                <a:buSzPts val="1000"/>
                <a:buFont typeface="Arial"/>
                <a:buNone/>
              </a:pPr>
              <a:r>
                <a:rPr lang="en-US" sz="900" b="0" i="0" u="none" strike="noStrike" cap="none" dirty="0">
                  <a:solidFill>
                    <a:srgbClr val="4C4845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Strategy</a:t>
              </a:r>
              <a:endParaRPr sz="9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" name="Google Shape;112;p5">
              <a:extLst>
                <a:ext uri="{FF2B5EF4-FFF2-40B4-BE49-F238E27FC236}">
                  <a16:creationId xmlns:a16="http://schemas.microsoft.com/office/drawing/2014/main" id="{F196D502-5B41-39AA-B51B-CE1D046B50C7}"/>
                </a:ext>
              </a:extLst>
            </p:cNvPr>
            <p:cNvSpPr/>
            <p:nvPr/>
          </p:nvSpPr>
          <p:spPr>
            <a:xfrm>
              <a:off x="7859136" y="3840922"/>
              <a:ext cx="727787" cy="4499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FFFFFF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Product Marketing</a:t>
              </a:r>
              <a:endParaRPr sz="900" dirty="0">
                <a:solidFill>
                  <a:srgbClr val="FFFFFF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" name="Google Shape;113;p5">
              <a:extLst>
                <a:ext uri="{FF2B5EF4-FFF2-40B4-BE49-F238E27FC236}">
                  <a16:creationId xmlns:a16="http://schemas.microsoft.com/office/drawing/2014/main" id="{59879972-F6F1-F337-1256-7F59FC35DDF0}"/>
                </a:ext>
              </a:extLst>
            </p:cNvPr>
            <p:cNvSpPr/>
            <p:nvPr/>
          </p:nvSpPr>
          <p:spPr>
            <a:xfrm>
              <a:off x="8773536" y="3840922"/>
              <a:ext cx="727787" cy="4499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000"/>
                <a:buFont typeface="Arial"/>
                <a:buNone/>
              </a:pPr>
              <a:r>
                <a:rPr lang="en-US" sz="900" b="0" i="0" u="none" strike="noStrike" cap="none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AEs / BDRs</a:t>
              </a:r>
              <a:endParaRPr sz="900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" name="Google Shape;114;p5">
              <a:extLst>
                <a:ext uri="{FF2B5EF4-FFF2-40B4-BE49-F238E27FC236}">
                  <a16:creationId xmlns:a16="http://schemas.microsoft.com/office/drawing/2014/main" id="{82A17AB9-2F03-BA69-C1CD-65B3E11015A2}"/>
                </a:ext>
              </a:extLst>
            </p:cNvPr>
            <p:cNvSpPr/>
            <p:nvPr/>
          </p:nvSpPr>
          <p:spPr>
            <a:xfrm>
              <a:off x="10602336" y="3840922"/>
              <a:ext cx="727787" cy="449968"/>
            </a:xfrm>
            <a:prstGeom prst="rect">
              <a:avLst/>
            </a:prstGeom>
            <a:solidFill>
              <a:srgbClr val="D8D8D8"/>
            </a:solidFill>
            <a:ln w="9525" cap="flat" cmpd="sng">
              <a:solidFill>
                <a:srgbClr val="E0E3E6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rgbClr val="4C4845"/>
                </a:buClr>
                <a:buSzPts val="1000"/>
                <a:buFont typeface="Avenir"/>
                <a:buNone/>
              </a:pPr>
              <a:r>
                <a:rPr lang="en-US" sz="900" b="0" i="0" u="none" strike="noStrike" cap="none" dirty="0">
                  <a:solidFill>
                    <a:srgbClr val="4C4845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Operations</a:t>
              </a:r>
              <a:endParaRPr sz="9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" name="Google Shape;115;p5">
              <a:extLst>
                <a:ext uri="{FF2B5EF4-FFF2-40B4-BE49-F238E27FC236}">
                  <a16:creationId xmlns:a16="http://schemas.microsoft.com/office/drawing/2014/main" id="{F18C7051-C12A-5FBF-8737-E8B36559EBCF}"/>
                </a:ext>
              </a:extLst>
            </p:cNvPr>
            <p:cNvSpPr/>
            <p:nvPr/>
          </p:nvSpPr>
          <p:spPr>
            <a:xfrm>
              <a:off x="8773536" y="4401808"/>
              <a:ext cx="727787" cy="4499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000"/>
                <a:buFont typeface="Arial"/>
                <a:buNone/>
              </a:pPr>
              <a:r>
                <a:rPr lang="en-US" sz="900" b="0" i="0" u="none" strike="noStrike" cap="none" dirty="0">
                  <a:solidFill>
                    <a:schemeClr val="bg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Solution Engineers</a:t>
              </a:r>
              <a:endParaRPr sz="900" dirty="0">
                <a:solidFill>
                  <a:schemeClr val="bg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" name="Google Shape;116;p5">
              <a:extLst>
                <a:ext uri="{FF2B5EF4-FFF2-40B4-BE49-F238E27FC236}">
                  <a16:creationId xmlns:a16="http://schemas.microsoft.com/office/drawing/2014/main" id="{9A861A65-8F12-E8EB-179E-C63D5F3F4E78}"/>
                </a:ext>
              </a:extLst>
            </p:cNvPr>
            <p:cNvSpPr/>
            <p:nvPr/>
          </p:nvSpPr>
          <p:spPr>
            <a:xfrm>
              <a:off x="10602336" y="4401808"/>
              <a:ext cx="727787" cy="449968"/>
            </a:xfrm>
            <a:prstGeom prst="rect">
              <a:avLst/>
            </a:prstGeom>
            <a:solidFill>
              <a:srgbClr val="D8D8D8"/>
            </a:solidFill>
            <a:ln w="9525" cap="flat" cmpd="sng">
              <a:solidFill>
                <a:srgbClr val="E0E3E6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845"/>
                </a:buClr>
                <a:buSzPts val="1000"/>
                <a:buFont typeface="Arial"/>
                <a:buNone/>
              </a:pPr>
              <a:r>
                <a:rPr lang="en-US" sz="900" b="0" i="0" u="none" strike="noStrike" cap="none" dirty="0">
                  <a:solidFill>
                    <a:srgbClr val="4C4845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Insight</a:t>
              </a:r>
              <a:endParaRPr sz="9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" name="Google Shape;117;p5">
              <a:extLst>
                <a:ext uri="{FF2B5EF4-FFF2-40B4-BE49-F238E27FC236}">
                  <a16:creationId xmlns:a16="http://schemas.microsoft.com/office/drawing/2014/main" id="{14F21CDD-AB8C-BF70-15AF-5F197565E33B}"/>
                </a:ext>
              </a:extLst>
            </p:cNvPr>
            <p:cNvSpPr/>
            <p:nvPr/>
          </p:nvSpPr>
          <p:spPr>
            <a:xfrm>
              <a:off x="7859136" y="4404766"/>
              <a:ext cx="727787" cy="4499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rgbClr val="FFFFFF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Field Marketing</a:t>
              </a:r>
              <a:endParaRPr sz="900" dirty="0">
                <a:solidFill>
                  <a:srgbClr val="FFFFFF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" name="Google Shape;118;p5">
              <a:extLst>
                <a:ext uri="{FF2B5EF4-FFF2-40B4-BE49-F238E27FC236}">
                  <a16:creationId xmlns:a16="http://schemas.microsoft.com/office/drawing/2014/main" id="{CD5E6D8C-377A-3018-BE34-DF73257BE45B}"/>
                </a:ext>
              </a:extLst>
            </p:cNvPr>
            <p:cNvSpPr/>
            <p:nvPr/>
          </p:nvSpPr>
          <p:spPr>
            <a:xfrm>
              <a:off x="10602336" y="4962694"/>
              <a:ext cx="727787" cy="449968"/>
            </a:xfrm>
            <a:prstGeom prst="rect">
              <a:avLst/>
            </a:prstGeom>
            <a:solidFill>
              <a:srgbClr val="D8D8D8"/>
            </a:solidFill>
            <a:ln w="9525" cap="flat" cmpd="sng">
              <a:solidFill>
                <a:srgbClr val="E0E3E6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76200" dist="50800" dir="5400000" algn="tl" rotWithShape="0">
                <a:schemeClr val="dk2">
                  <a:alpha val="3529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845"/>
                </a:buClr>
                <a:buSzPts val="1000"/>
                <a:buFont typeface="Arial"/>
                <a:buNone/>
              </a:pPr>
              <a:r>
                <a:rPr lang="en-US" sz="900" b="0" i="0" u="none" strike="noStrike" cap="none" dirty="0">
                  <a:solidFill>
                    <a:srgbClr val="4C4845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Tools</a:t>
              </a:r>
              <a:endParaRPr sz="900" dirty="0">
                <a:solidFill>
                  <a:schemeClr val="dk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endParaRPr>
            </a:p>
          </p:txBody>
        </p:sp>
        <p:cxnSp>
          <p:nvCxnSpPr>
            <p:cNvPr id="66" name="Google Shape;119;p5">
              <a:extLst>
                <a:ext uri="{FF2B5EF4-FFF2-40B4-BE49-F238E27FC236}">
                  <a16:creationId xmlns:a16="http://schemas.microsoft.com/office/drawing/2014/main" id="{D9BA9253-5D08-AB5D-897D-3FB13A82B65C}"/>
                </a:ext>
              </a:extLst>
            </p:cNvPr>
            <p:cNvCxnSpPr>
              <a:stCxn id="51" idx="2"/>
              <a:endCxn id="55" idx="0"/>
            </p:cNvCxnSpPr>
            <p:nvPr/>
          </p:nvCxnSpPr>
          <p:spPr>
            <a:xfrm>
              <a:off x="8223029" y="3107963"/>
              <a:ext cx="0" cy="20460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oogle Shape;120;p5">
              <a:extLst>
                <a:ext uri="{FF2B5EF4-FFF2-40B4-BE49-F238E27FC236}">
                  <a16:creationId xmlns:a16="http://schemas.microsoft.com/office/drawing/2014/main" id="{617AE274-F84C-0D71-99CB-FFE50342CA25}"/>
                </a:ext>
              </a:extLst>
            </p:cNvPr>
            <p:cNvCxnSpPr>
              <a:stCxn id="55" idx="2"/>
              <a:endCxn id="59" idx="0"/>
            </p:cNvCxnSpPr>
            <p:nvPr/>
          </p:nvCxnSpPr>
          <p:spPr>
            <a:xfrm>
              <a:off x="8223029" y="3762661"/>
              <a:ext cx="0" cy="7830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oogle Shape;121;p5">
              <a:extLst>
                <a:ext uri="{FF2B5EF4-FFF2-40B4-BE49-F238E27FC236}">
                  <a16:creationId xmlns:a16="http://schemas.microsoft.com/office/drawing/2014/main" id="{DC38E474-7EAF-8FC6-E9BC-16D8C08DBD77}"/>
                </a:ext>
              </a:extLst>
            </p:cNvPr>
            <p:cNvCxnSpPr>
              <a:endCxn id="59" idx="2"/>
            </p:cNvCxnSpPr>
            <p:nvPr/>
          </p:nvCxnSpPr>
          <p:spPr>
            <a:xfrm rot="10800000">
              <a:off x="8223029" y="4290890"/>
              <a:ext cx="0" cy="11100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oogle Shape;122;p5">
              <a:extLst>
                <a:ext uri="{FF2B5EF4-FFF2-40B4-BE49-F238E27FC236}">
                  <a16:creationId xmlns:a16="http://schemas.microsoft.com/office/drawing/2014/main" id="{2A795AFB-AE9B-0D7C-6120-AACE39E17C8D}"/>
                </a:ext>
              </a:extLst>
            </p:cNvPr>
            <p:cNvCxnSpPr/>
            <p:nvPr/>
          </p:nvCxnSpPr>
          <p:spPr>
            <a:xfrm>
              <a:off x="9154536" y="3107963"/>
              <a:ext cx="0" cy="20473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oogle Shape;123;p5">
              <a:extLst>
                <a:ext uri="{FF2B5EF4-FFF2-40B4-BE49-F238E27FC236}">
                  <a16:creationId xmlns:a16="http://schemas.microsoft.com/office/drawing/2014/main" id="{B785E75B-7FDC-3E05-1DBD-8BFAA6F78E8F}"/>
                </a:ext>
              </a:extLst>
            </p:cNvPr>
            <p:cNvCxnSpPr/>
            <p:nvPr/>
          </p:nvCxnSpPr>
          <p:spPr>
            <a:xfrm>
              <a:off x="9154536" y="3762661"/>
              <a:ext cx="0" cy="78261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oogle Shape;124;p5">
              <a:extLst>
                <a:ext uri="{FF2B5EF4-FFF2-40B4-BE49-F238E27FC236}">
                  <a16:creationId xmlns:a16="http://schemas.microsoft.com/office/drawing/2014/main" id="{CB835FAF-95A3-67E0-A09F-9EF31319DBE8}"/>
                </a:ext>
              </a:extLst>
            </p:cNvPr>
            <p:cNvCxnSpPr/>
            <p:nvPr/>
          </p:nvCxnSpPr>
          <p:spPr>
            <a:xfrm>
              <a:off x="9154536" y="4290890"/>
              <a:ext cx="0" cy="110918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oogle Shape;125;p5">
              <a:extLst>
                <a:ext uri="{FF2B5EF4-FFF2-40B4-BE49-F238E27FC236}">
                  <a16:creationId xmlns:a16="http://schemas.microsoft.com/office/drawing/2014/main" id="{6C0567DB-F34D-75BE-648C-74C8C067695B}"/>
                </a:ext>
              </a:extLst>
            </p:cNvPr>
            <p:cNvCxnSpPr/>
            <p:nvPr/>
          </p:nvCxnSpPr>
          <p:spPr>
            <a:xfrm>
              <a:off x="10068936" y="3107963"/>
              <a:ext cx="0" cy="20473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oogle Shape;126;p5">
              <a:extLst>
                <a:ext uri="{FF2B5EF4-FFF2-40B4-BE49-F238E27FC236}">
                  <a16:creationId xmlns:a16="http://schemas.microsoft.com/office/drawing/2014/main" id="{26AF9BD8-1421-8342-53B3-316DCA5ADEA5}"/>
                </a:ext>
              </a:extLst>
            </p:cNvPr>
            <p:cNvCxnSpPr/>
            <p:nvPr/>
          </p:nvCxnSpPr>
          <p:spPr>
            <a:xfrm>
              <a:off x="10983336" y="3107963"/>
              <a:ext cx="0" cy="20473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oogle Shape;127;p5">
              <a:extLst>
                <a:ext uri="{FF2B5EF4-FFF2-40B4-BE49-F238E27FC236}">
                  <a16:creationId xmlns:a16="http://schemas.microsoft.com/office/drawing/2014/main" id="{48943924-F3A0-0702-E452-95C9649298EF}"/>
                </a:ext>
              </a:extLst>
            </p:cNvPr>
            <p:cNvCxnSpPr/>
            <p:nvPr/>
          </p:nvCxnSpPr>
          <p:spPr>
            <a:xfrm>
              <a:off x="10983336" y="3762661"/>
              <a:ext cx="0" cy="78261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oogle Shape;128;p5">
              <a:extLst>
                <a:ext uri="{FF2B5EF4-FFF2-40B4-BE49-F238E27FC236}">
                  <a16:creationId xmlns:a16="http://schemas.microsoft.com/office/drawing/2014/main" id="{FDF9F22D-E9E3-77FB-5BA0-11504A4517E1}"/>
                </a:ext>
              </a:extLst>
            </p:cNvPr>
            <p:cNvCxnSpPr/>
            <p:nvPr/>
          </p:nvCxnSpPr>
          <p:spPr>
            <a:xfrm>
              <a:off x="10983336" y="4290890"/>
              <a:ext cx="0" cy="110918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oogle Shape;129;p5">
              <a:extLst>
                <a:ext uri="{FF2B5EF4-FFF2-40B4-BE49-F238E27FC236}">
                  <a16:creationId xmlns:a16="http://schemas.microsoft.com/office/drawing/2014/main" id="{6A953B1D-7581-CDE4-C53D-6DDA862A3EC2}"/>
                </a:ext>
              </a:extLst>
            </p:cNvPr>
            <p:cNvCxnSpPr/>
            <p:nvPr/>
          </p:nvCxnSpPr>
          <p:spPr>
            <a:xfrm>
              <a:off x="10983336" y="4851776"/>
              <a:ext cx="0" cy="110918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9467AA44-4AEC-E1B3-7838-0B0EAC5B0F8D}"/>
              </a:ext>
            </a:extLst>
          </p:cNvPr>
          <p:cNvSpPr txBox="1"/>
          <p:nvPr/>
        </p:nvSpPr>
        <p:spPr>
          <a:xfrm>
            <a:off x="683539" y="1354995"/>
            <a:ext cx="61264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2400"/>
              <a:buFont typeface="Avenir"/>
              <a:buNone/>
            </a:pPr>
            <a:r>
              <a:rPr lang="en-US" sz="1800" b="1" i="0" u="none" strike="noStrike" cap="none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From Decentralized (e.g. Siloed)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2400"/>
              <a:buFont typeface="Avenir"/>
              <a:buNone/>
            </a:pPr>
            <a:r>
              <a:rPr lang="en-US" sz="18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Functional Operations</a:t>
            </a:r>
            <a:endParaRPr lang="en-US" sz="14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F780908-5772-CCAA-0E20-6531E6B7E839}"/>
              </a:ext>
            </a:extLst>
          </p:cNvPr>
          <p:cNvSpPr txBox="1"/>
          <p:nvPr/>
        </p:nvSpPr>
        <p:spPr>
          <a:xfrm>
            <a:off x="8460840" y="1320243"/>
            <a:ext cx="25298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2400"/>
              <a:buFont typeface="Arial"/>
              <a:buNone/>
            </a:pPr>
            <a:r>
              <a:rPr lang="en-US" sz="1800" b="1" i="0" u="none" strike="noStrike" cap="none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To Centralized </a:t>
            </a:r>
            <a:endParaRPr lang="en-US" sz="1400" b="1" dirty="0"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2400"/>
              <a:buFont typeface="Arial"/>
              <a:buNone/>
            </a:pPr>
            <a:r>
              <a:rPr lang="en-US" sz="1800" b="0" i="0" u="none" strike="noStrike" cap="none" dirty="0">
                <a:solidFill>
                  <a:srgbClr val="4C4846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venue Operations</a:t>
            </a:r>
            <a:endParaRPr lang="en-US" sz="1400" dirty="0">
              <a:solidFill>
                <a:schemeClr val="dk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7846DE03-E653-ECE8-1EAE-E2FBB91EFB91}"/>
              </a:ext>
            </a:extLst>
          </p:cNvPr>
          <p:cNvSpPr/>
          <p:nvPr/>
        </p:nvSpPr>
        <p:spPr>
          <a:xfrm>
            <a:off x="611617" y="2001326"/>
            <a:ext cx="6123013" cy="404301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8F79EE9E-048B-C0B3-FC52-A822AA25F23B}"/>
              </a:ext>
            </a:extLst>
          </p:cNvPr>
          <p:cNvSpPr/>
          <p:nvPr/>
        </p:nvSpPr>
        <p:spPr>
          <a:xfrm>
            <a:off x="7724327" y="1979705"/>
            <a:ext cx="4012501" cy="406463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1697753F-F00D-7462-F0EB-71179621EDA7}"/>
              </a:ext>
            </a:extLst>
          </p:cNvPr>
          <p:cNvCxnSpPr>
            <a:cxnSpLocks/>
          </p:cNvCxnSpPr>
          <p:nvPr/>
        </p:nvCxnSpPr>
        <p:spPr>
          <a:xfrm>
            <a:off x="5879072" y="1565683"/>
            <a:ext cx="227634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Google Shape;173;p5">
            <a:extLst>
              <a:ext uri="{FF2B5EF4-FFF2-40B4-BE49-F238E27FC236}">
                <a16:creationId xmlns:a16="http://schemas.microsoft.com/office/drawing/2014/main" id="{D3430F4A-1DE0-FFB1-C819-AE4977EF4E4F}"/>
              </a:ext>
            </a:extLst>
          </p:cNvPr>
          <p:cNvSpPr/>
          <p:nvPr/>
        </p:nvSpPr>
        <p:spPr>
          <a:xfrm>
            <a:off x="10657265" y="5408516"/>
            <a:ext cx="727787" cy="449968"/>
          </a:xfrm>
          <a:prstGeom prst="rect">
            <a:avLst/>
          </a:prstGeom>
          <a:solidFill>
            <a:srgbClr val="D8D8D8"/>
          </a:solidFill>
          <a:ln w="9525" cap="flat" cmpd="sng">
            <a:solidFill>
              <a:srgbClr val="E0E3E6"/>
            </a:solidFill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chemeClr val="dk2">
                <a:alpha val="3529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000"/>
              <a:buFont typeface="Arial"/>
              <a:buNone/>
            </a:pPr>
            <a:r>
              <a:rPr lang="en-US" sz="1000" b="0" i="0" u="none" strike="noStrike" cap="none" dirty="0">
                <a:solidFill>
                  <a:srgbClr val="4C4845"/>
                </a:solidFill>
                <a:latin typeface="Avenir"/>
                <a:ea typeface="Avenir"/>
                <a:cs typeface="Avenir"/>
                <a:sym typeface="Avenir"/>
              </a:rPr>
              <a:t>Admin</a:t>
            </a:r>
            <a:endParaRPr sz="1800" dirty="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cxnSp>
        <p:nvCxnSpPr>
          <p:cNvPr id="101" name="Google Shape;174;p5">
            <a:extLst>
              <a:ext uri="{FF2B5EF4-FFF2-40B4-BE49-F238E27FC236}">
                <a16:creationId xmlns:a16="http://schemas.microsoft.com/office/drawing/2014/main" id="{4DFD3793-EF65-2826-43D1-69B81953A6B6}"/>
              </a:ext>
            </a:extLst>
          </p:cNvPr>
          <p:cNvCxnSpPr>
            <a:cxnSpLocks/>
          </p:cNvCxnSpPr>
          <p:nvPr/>
        </p:nvCxnSpPr>
        <p:spPr>
          <a:xfrm>
            <a:off x="11021158" y="5296747"/>
            <a:ext cx="0" cy="110918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Google Shape;175;p5">
            <a:extLst>
              <a:ext uri="{FF2B5EF4-FFF2-40B4-BE49-F238E27FC236}">
                <a16:creationId xmlns:a16="http://schemas.microsoft.com/office/drawing/2014/main" id="{CA6E5DD1-D458-D635-1009-28D08DFB5A99}"/>
              </a:ext>
            </a:extLst>
          </p:cNvPr>
          <p:cNvSpPr/>
          <p:nvPr/>
        </p:nvSpPr>
        <p:spPr>
          <a:xfrm>
            <a:off x="10527823" y="2286833"/>
            <a:ext cx="979558" cy="3618227"/>
          </a:xfrm>
          <a:prstGeom prst="ellipse">
            <a:avLst/>
          </a:prstGeom>
          <a:noFill/>
          <a:ln w="57150" cap="rnd" cmpd="sng">
            <a:solidFill>
              <a:schemeClr val="accent5"/>
            </a:solidFill>
            <a:prstDash val="sysDot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chemeClr val="dk2">
                <a:alpha val="3529"/>
              </a:scheme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venir"/>
              <a:buNone/>
            </a:pPr>
            <a:endParaRPr sz="1200" b="0" i="0" u="none" strike="noStrike" cap="none">
              <a:solidFill>
                <a:schemeClr val="dk2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</p:spTree>
    <p:extLst>
      <p:ext uri="{BB962C8B-B14F-4D97-AF65-F5344CB8AC3E}">
        <p14:creationId xmlns:p14="http://schemas.microsoft.com/office/powerpoint/2010/main" val="31547835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41CD7A3-1EA5-F424-465F-CB5FF0C8132F}"/>
              </a:ext>
            </a:extLst>
          </p:cNvPr>
          <p:cNvSpPr/>
          <p:nvPr/>
        </p:nvSpPr>
        <p:spPr>
          <a:xfrm>
            <a:off x="0" y="1107803"/>
            <a:ext cx="121920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02403"/>
            <a:ext cx="10962290" cy="767853"/>
          </a:xfrm>
        </p:spPr>
        <p:txBody>
          <a:bodyPr/>
          <a:lstStyle/>
          <a:p>
            <a:r>
              <a:rPr lang="en-US" dirty="0"/>
              <a:t>Revenue Operations’ Scope Spans Capabilities Critical to </a:t>
            </a:r>
            <a:br>
              <a:rPr lang="en-US" dirty="0"/>
            </a:br>
            <a:r>
              <a:rPr lang="en-US" dirty="0"/>
              <a:t>all Go-to-Market Functions</a:t>
            </a:r>
          </a:p>
        </p:txBody>
      </p:sp>
      <p:graphicFrame>
        <p:nvGraphicFramePr>
          <p:cNvPr id="2" name="Google Shape;182;p6">
            <a:extLst>
              <a:ext uri="{FF2B5EF4-FFF2-40B4-BE49-F238E27FC236}">
                <a16:creationId xmlns:a16="http://schemas.microsoft.com/office/drawing/2014/main" id="{4A821436-164B-794B-81BC-0077425EEF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5730210"/>
              </p:ext>
            </p:extLst>
          </p:nvPr>
        </p:nvGraphicFramePr>
        <p:xfrm>
          <a:off x="609601" y="2511149"/>
          <a:ext cx="11197422" cy="361865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8662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662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662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662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662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662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085312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1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</a:rPr>
                        <a:t>2. Data Strategy</a:t>
                      </a:r>
                      <a:endParaRPr dirty="0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1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Establish the data required to drive initiatives and market, company, and departmental decisions</a:t>
                      </a:r>
                      <a:endParaRPr dirty="0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45725" marR="45725" marT="45725" marB="45725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1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</a:rPr>
                        <a:t>3. Analytic Strategy</a:t>
                      </a:r>
                      <a:br>
                        <a:rPr lang="en-US" sz="11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</a:rPr>
                      </a:br>
                      <a:r>
                        <a:rPr lang="en-US" sz="11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Set and define metrics measured consistently and accurately, with signoffs on all parties involved</a:t>
                      </a:r>
                      <a:endParaRPr dirty="0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45725" marR="45725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1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</a:rPr>
                        <a:t>4. Reporting</a:t>
                      </a:r>
                      <a:endParaRPr dirty="0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1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Standardize a single source of truth and share those reports universally throughout the entire organization </a:t>
                      </a:r>
                      <a:endParaRPr dirty="0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45725" marR="45725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1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</a:rPr>
                        <a:t>5. Systems</a:t>
                      </a:r>
                      <a:endParaRPr dirty="0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1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Manage and monitor the underlying systems and their connectivity across all departments to get a single source of the truth</a:t>
                      </a:r>
                      <a:endParaRPr dirty="0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45725" marR="45725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1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</a:rPr>
                        <a:t>6. Support</a:t>
                      </a:r>
                      <a:endParaRPr dirty="0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1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Act as a conduit between functions to allow the company to increase Revenue and successfully hit key strategic initiatives</a:t>
                      </a:r>
                      <a:endParaRPr dirty="0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45725" marR="45725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1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</a:rPr>
                        <a:t>7. Revenue Ops Org Design</a:t>
                      </a:r>
                      <a:endParaRPr dirty="0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1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77"/>
                          <a:ea typeface="Avenir"/>
                          <a:cs typeface="Avenir"/>
                          <a:sym typeface="Avenir"/>
                        </a:rPr>
                        <a:t>The optimized structure, roles, development plans, KPIs to execute the Rev Ops Charter. </a:t>
                      </a:r>
                      <a:endParaRPr dirty="0">
                        <a:solidFill>
                          <a:schemeClr val="bg1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45725" marR="45725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0594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 dirty="0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Data governance</a:t>
                      </a:r>
                      <a:endParaRPr sz="1200" u="none" strike="noStrike" cap="none" dirty="0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 dirty="0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Sales analytics</a:t>
                      </a:r>
                      <a:endParaRPr sz="1200" u="none" strike="noStrike" cap="none" dirty="0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Reporting and dashboards</a:t>
                      </a: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Avenir"/>
                        <a:buNone/>
                      </a:pP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Sales process management</a:t>
                      </a: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 dirty="0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Sales, Marketing, and CS stakeholder mgmt</a:t>
                      </a:r>
                      <a:endParaRPr sz="1200" u="none" strike="noStrike" cap="none" dirty="0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 dirty="0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Role design</a:t>
                      </a:r>
                      <a:endParaRPr sz="1200" u="none" strike="noStrike" cap="none" dirty="0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0594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 dirty="0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Metrics selection and definition</a:t>
                      </a:r>
                      <a:endParaRPr sz="1200" u="none" strike="noStrike" cap="none" dirty="0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 dirty="0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Marketing analytics</a:t>
                      </a:r>
                      <a:endParaRPr sz="1200" u="none" strike="noStrike" cap="none" dirty="0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Pipeline management and forecasting</a:t>
                      </a: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Sales technology oversight</a:t>
                      </a: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Strategic project &amp; transformation support</a:t>
                      </a: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Capacity planning and sizing</a:t>
                      </a: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0594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Avenir"/>
                        <a:buNone/>
                      </a:pP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Customer intelligence</a:t>
                      </a: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Avenir"/>
                        <a:buNone/>
                      </a:pP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Avenir"/>
                        <a:buNone/>
                      </a:pP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CRM/SFA program effectiveness</a:t>
                      </a: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 dirty="0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Performance management</a:t>
                      </a:r>
                      <a:endParaRPr sz="1200" u="none" strike="noStrike" cap="none" dirty="0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>
                          <a:solidFill>
                            <a:srgbClr val="161718"/>
                          </a:solidFill>
                          <a:latin typeface="Avenir Next LT Pro" panose="020B0504020202020204" pitchFamily="34" charset="77"/>
                        </a:rPr>
                        <a:t>Customer segmentation</a:t>
                      </a: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0594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Avenir"/>
                        <a:buNone/>
                      </a:pP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Avenir"/>
                        <a:buNone/>
                      </a:pPr>
                      <a:endParaRPr sz="1200" u="none" strike="noStrike" cap="none" dirty="0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Avenir"/>
                        <a:buNone/>
                      </a:pP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Avenir"/>
                        <a:buNone/>
                      </a:pPr>
                      <a:endParaRPr sz="1200" u="none" strike="noStrike" cap="none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tx1"/>
                          </a:solidFill>
                          <a:latin typeface="Avenir Next LT Pro" panose="020B0504020202020204" pitchFamily="34" charset="77"/>
                        </a:rPr>
                        <a:t>Revenue operations talent management</a:t>
                      </a:r>
                      <a:endParaRPr sz="1200" u="none" strike="noStrike" cap="none" dirty="0">
                        <a:solidFill>
                          <a:schemeClr val="tx1"/>
                        </a:solidFill>
                        <a:latin typeface="Avenir Next LT Pro" panose="020B0504020202020204" pitchFamily="34" charset="77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Avenir"/>
                        <a:buNone/>
                      </a:pPr>
                      <a:endParaRPr sz="1200" u="none" strike="noStrike" cap="none" dirty="0">
                        <a:solidFill>
                          <a:srgbClr val="161718"/>
                        </a:solidFill>
                        <a:latin typeface="Avenir Next LT Pro" panose="020B0504020202020204" pitchFamily="34" charset="77"/>
                      </a:endParaRP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100"/>
                        <a:buFont typeface="Avenir"/>
                        <a:buNone/>
                      </a:pPr>
                      <a:r>
                        <a:rPr lang="en-US" sz="1200" u="none" strike="noStrike" cap="none" dirty="0">
                          <a:solidFill>
                            <a:srgbClr val="161718"/>
                          </a:solidFill>
                        </a:rPr>
                        <a:t>Territory design and coverage</a:t>
                      </a:r>
                    </a:p>
                  </a:txBody>
                  <a:tcPr marL="91450" marR="91450" marT="45725" marB="457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3" name="Google Shape;183;p6" descr="Bar graph with upward trend with solid fill">
            <a:extLst>
              <a:ext uri="{FF2B5EF4-FFF2-40B4-BE49-F238E27FC236}">
                <a16:creationId xmlns:a16="http://schemas.microsoft.com/office/drawing/2014/main" id="{1BCCBD67-ABCA-F0B3-7E73-4DB845F11547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04239" y="2022203"/>
            <a:ext cx="459011" cy="4226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84;p6" descr="Clipboard Mixed with solid fill">
            <a:extLst>
              <a:ext uri="{FF2B5EF4-FFF2-40B4-BE49-F238E27FC236}">
                <a16:creationId xmlns:a16="http://schemas.microsoft.com/office/drawing/2014/main" id="{2890F104-9AB3-5527-297A-EBB970353B82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94610" y="2022203"/>
            <a:ext cx="533323" cy="422617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190;p6" descr="Presentation with org chart with solid fill">
            <a:extLst>
              <a:ext uri="{FF2B5EF4-FFF2-40B4-BE49-F238E27FC236}">
                <a16:creationId xmlns:a16="http://schemas.microsoft.com/office/drawing/2014/main" id="{E9E5A0DA-7401-4C12-36DD-971AE5C1F897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974351" y="2011251"/>
            <a:ext cx="459011" cy="496998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185;p6" descr="Workflow with solid fill">
            <a:extLst>
              <a:ext uri="{FF2B5EF4-FFF2-40B4-BE49-F238E27FC236}">
                <a16:creationId xmlns:a16="http://schemas.microsoft.com/office/drawing/2014/main" id="{9D3638C1-11DC-E77A-0EF6-1A6F39080309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839034" y="2021488"/>
            <a:ext cx="459011" cy="424047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189;p6" descr="Handshake outline">
            <a:extLst>
              <a:ext uri="{FF2B5EF4-FFF2-40B4-BE49-F238E27FC236}">
                <a16:creationId xmlns:a16="http://schemas.microsoft.com/office/drawing/2014/main" id="{5967CAC9-7A01-49E0-B5A3-D1F001DC7CFF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778030" y="2073056"/>
            <a:ext cx="459011" cy="456778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186;p6" descr="Group of people with solid fill">
            <a:extLst>
              <a:ext uri="{FF2B5EF4-FFF2-40B4-BE49-F238E27FC236}">
                <a16:creationId xmlns:a16="http://schemas.microsoft.com/office/drawing/2014/main" id="{9918C5DD-46A7-89FB-F0E8-94D5A3FF48E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583459" y="2073056"/>
            <a:ext cx="459010" cy="373387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187;p6">
            <a:extLst>
              <a:ext uri="{FF2B5EF4-FFF2-40B4-BE49-F238E27FC236}">
                <a16:creationId xmlns:a16="http://schemas.microsoft.com/office/drawing/2014/main" id="{CC408475-8212-1137-D033-0A37CFBF0B32}"/>
              </a:ext>
            </a:extLst>
          </p:cNvPr>
          <p:cNvSpPr/>
          <p:nvPr/>
        </p:nvSpPr>
        <p:spPr>
          <a:xfrm rot="-5400000">
            <a:off x="6073823" y="-3931515"/>
            <a:ext cx="268979" cy="11197423"/>
          </a:xfrm>
          <a:prstGeom prst="rightBracket">
            <a:avLst>
              <a:gd name="adj" fmla="val 8333"/>
            </a:avLst>
          </a:prstGeom>
          <a:ln w="1905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venir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188;p6">
            <a:extLst>
              <a:ext uri="{FF2B5EF4-FFF2-40B4-BE49-F238E27FC236}">
                <a16:creationId xmlns:a16="http://schemas.microsoft.com/office/drawing/2014/main" id="{DD03BC41-DD4E-D1E9-FE29-8893DC768FB3}"/>
              </a:ext>
            </a:extLst>
          </p:cNvPr>
          <p:cNvSpPr txBox="1"/>
          <p:nvPr/>
        </p:nvSpPr>
        <p:spPr>
          <a:xfrm>
            <a:off x="4301134" y="1386571"/>
            <a:ext cx="3814355" cy="3077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bg1"/>
                </a:solidFill>
                <a:latin typeface="Avenir Next LT Pro" panose="020B0504020202020204" pitchFamily="34" charset="77"/>
                <a:ea typeface="Arial"/>
                <a:cs typeface="Arial"/>
                <a:sym typeface="Arial"/>
              </a:rPr>
              <a:t>1. Scope of Revenue Operations Charter</a:t>
            </a:r>
            <a:endParaRPr sz="1800" dirty="0">
              <a:solidFill>
                <a:schemeClr val="bg1"/>
              </a:solidFill>
              <a:latin typeface="Avenir Next LT Pro" panose="020B0504020202020204" pitchFamily="34" charset="77"/>
              <a:ea typeface="Avenir"/>
              <a:cs typeface="Avenir"/>
              <a:sym typeface="Avenir"/>
            </a:endParaRPr>
          </a:p>
        </p:txBody>
      </p:sp>
    </p:spTree>
    <p:extLst>
      <p:ext uri="{BB962C8B-B14F-4D97-AF65-F5344CB8AC3E}">
        <p14:creationId xmlns:p14="http://schemas.microsoft.com/office/powerpoint/2010/main" val="40807980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697F182-1B37-CBF9-F733-EE78BA20E744}"/>
              </a:ext>
            </a:extLst>
          </p:cNvPr>
          <p:cNvSpPr/>
          <p:nvPr/>
        </p:nvSpPr>
        <p:spPr>
          <a:xfrm>
            <a:off x="0" y="959951"/>
            <a:ext cx="121920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800" dirty="0">
                <a:solidFill>
                  <a:schemeClr val="tx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        </a:t>
            </a:r>
          </a:p>
          <a:p>
            <a:pPr algn="ctr"/>
            <a:r>
              <a:rPr lang="en-US" sz="1800" b="1" dirty="0">
                <a:solidFill>
                  <a:schemeClr val="tx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       All Of Them Should Show Improvement In Year 1 of </a:t>
            </a:r>
            <a:r>
              <a:rPr lang="en-US" b="1" dirty="0">
                <a:solidFill>
                  <a:schemeClr val="tx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a</a:t>
            </a:r>
            <a:r>
              <a:rPr lang="en-US" sz="1800" b="1" dirty="0">
                <a:solidFill>
                  <a:schemeClr val="tx1"/>
                </a:solidFill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 Revenue Operations Deployment</a:t>
            </a:r>
            <a:endParaRPr lang="en-US" b="1" dirty="0">
              <a:solidFill>
                <a:schemeClr val="tx1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7589"/>
            <a:ext cx="11143131" cy="767853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venue Operations Strategy Typically Supports 4 Key Business Outcomes</a:t>
            </a:r>
            <a:endParaRPr lang="en-US" dirty="0">
              <a:latin typeface="Avenir Next LT Pro" panose="020B0504020202020204" pitchFamily="34" charset="77"/>
            </a:endParaRPr>
          </a:p>
        </p:txBody>
      </p:sp>
      <p:graphicFrame>
        <p:nvGraphicFramePr>
          <p:cNvPr id="2" name="Google Shape;197;p7">
            <a:extLst>
              <a:ext uri="{FF2B5EF4-FFF2-40B4-BE49-F238E27FC236}">
                <a16:creationId xmlns:a16="http://schemas.microsoft.com/office/drawing/2014/main" id="{C0D70B69-E5E8-7AF4-0B62-6472380DBD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3666947"/>
              </p:ext>
            </p:extLst>
          </p:nvPr>
        </p:nvGraphicFramePr>
        <p:xfrm>
          <a:off x="609599" y="1707647"/>
          <a:ext cx="11143131" cy="4537972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1075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868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803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409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1"/>
                          </a:solidFill>
                        </a:rPr>
                        <a:t>Outcome</a:t>
                      </a:r>
                      <a:endParaRPr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1"/>
                          </a:solidFill>
                        </a:rPr>
                        <a:t>How will Revenue Ops Support this Initiative?</a:t>
                      </a:r>
                      <a:endParaRPr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Pts val="1600"/>
                        <a:buFont typeface="Avenir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1"/>
                          </a:solidFill>
                        </a:rPr>
                        <a:t>How will Revenue Ops be measured?</a:t>
                      </a:r>
                      <a:endParaRPr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36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rgbClr val="161718"/>
                          </a:solidFill>
                        </a:rPr>
                        <a:t>Purchase Ease / Selling Ease</a:t>
                      </a:r>
                      <a:endParaRPr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b="1" u="none" strike="noStrike" cap="none" dirty="0">
                          <a:solidFill>
                            <a:srgbClr val="161718"/>
                          </a:solidFill>
                        </a:rPr>
                        <a:t>Data Strategy:  </a:t>
                      </a: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</a:rPr>
                        <a:t>Define data required to make decisions across departments (Marketing, Customer Success, Sales, Etc.) </a:t>
                      </a:r>
                      <a:endParaRPr sz="1100" dirty="0"/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b="1" u="none" strike="noStrike" cap="none" dirty="0">
                          <a:solidFill>
                            <a:srgbClr val="161718"/>
                          </a:solidFill>
                        </a:rPr>
                        <a:t>IT Systems:</a:t>
                      </a:r>
                      <a:r>
                        <a:rPr lang="en-US" sz="1100" b="0" u="none" strike="noStrike" cap="none" dirty="0">
                          <a:solidFill>
                            <a:srgbClr val="161718"/>
                          </a:solidFill>
                        </a:rPr>
                        <a:t>  Automate core business processes to increase the productivity across business functions</a:t>
                      </a:r>
                      <a:endParaRPr sz="1100" dirty="0"/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b="1" u="none" strike="noStrike" cap="none" dirty="0">
                          <a:solidFill>
                            <a:srgbClr val="161718"/>
                          </a:solidFill>
                        </a:rPr>
                        <a:t>Cross-functional Support:</a:t>
                      </a:r>
                      <a:r>
                        <a:rPr lang="en-US" sz="1100" b="0" u="none" strike="noStrike" cap="none" dirty="0">
                          <a:solidFill>
                            <a:srgbClr val="161718"/>
                          </a:solidFill>
                        </a:rPr>
                        <a:t>  Represent Rev Ops within the other corporate functional groups and reduce the administrative burden from Rev Ops </a:t>
                      </a:r>
                      <a:endParaRPr sz="1100" dirty="0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</a:rPr>
                        <a:t>% UAR Selling Time (improvement)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</a:rPr>
                        <a:t>Time to quote (Improvement)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</a:rPr>
                        <a:t>Data Cleanliness (% of records that are duplicates)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</a:rPr>
                        <a:t>SFDC Usage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</a:rPr>
                        <a:t>Dashboards and tools/systems used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</a:rPr>
                        <a:t>On time reporting and analytics output</a:t>
                      </a:r>
                      <a:endParaRPr sz="1100" dirty="0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97479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solidFill>
                            <a:srgbClr val="161718"/>
                          </a:solidFill>
                        </a:rPr>
                        <a:t>Increased Productivity per Head</a:t>
                      </a:r>
                      <a:endParaRPr sz="1200" b="0" u="none" strike="noStrike" cap="none">
                        <a:solidFill>
                          <a:srgbClr val="161718"/>
                        </a:solidFill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b="1" u="none" strike="noStrike" cap="none" dirty="0">
                          <a:solidFill>
                            <a:srgbClr val="161718"/>
                          </a:solidFill>
                        </a:rPr>
                        <a:t>Purchase Segmentation:  </a:t>
                      </a:r>
                      <a:r>
                        <a:rPr lang="en-US" sz="1100" b="0" u="none" strike="noStrike" cap="none" dirty="0">
                          <a:solidFill>
                            <a:srgbClr val="161718"/>
                          </a:solidFill>
                        </a:rPr>
                        <a:t>Create and maintain the account segmentation process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b="1" u="none" strike="noStrike" cap="none" dirty="0">
                          <a:solidFill>
                            <a:srgbClr val="161718"/>
                          </a:solidFill>
                        </a:rPr>
                        <a:t>Rev Ops Structure and Coverage:  </a:t>
                      </a:r>
                      <a:r>
                        <a:rPr lang="en-US" sz="1100" b="0" u="none" strike="noStrike" cap="none" dirty="0">
                          <a:solidFill>
                            <a:srgbClr val="161718"/>
                          </a:solidFill>
                        </a:rPr>
                        <a:t>P</a:t>
                      </a: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</a:rPr>
                        <a:t>roperly structuring the Rev Ops organization to determining what accounts to cover by segment and determining the right channels to cover said segments.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b="1" u="none" strike="noStrike" cap="none" dirty="0">
                          <a:solidFill>
                            <a:srgbClr val="161718"/>
                          </a:solidFill>
                        </a:rPr>
                        <a:t>Rev Ops Processes:</a:t>
                      </a:r>
                      <a:r>
                        <a:rPr lang="en-US" sz="1100" b="0" u="none" strike="noStrike" cap="none" dirty="0">
                          <a:solidFill>
                            <a:srgbClr val="161718"/>
                          </a:solidFill>
                        </a:rPr>
                        <a:t>  Implement a Rev Ops process that focuses on account management (current accounts) and opportunity management (new business/new logos) </a:t>
                      </a:r>
                      <a:endParaRPr sz="1100" dirty="0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</a:rPr>
                        <a:t>Customer 360 Usage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Pipeline Coverage CQ, CQ+1, CQ+3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Pipeline by Type – New Logo, Up/Cross Sell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Pipeline Average Deal Size - ACV, TCV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Sales process adoption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Bookings/head (new logo, Upsell/Cross-Sell, Renewals</a:t>
                      </a:r>
                      <a:endParaRPr sz="1100" dirty="0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50274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solidFill>
                            <a:srgbClr val="161718"/>
                          </a:solidFill>
                        </a:rPr>
                        <a:t>Forecast Accuracy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200"/>
                        <a:buFont typeface="Arial"/>
                        <a:buNone/>
                      </a:pPr>
                      <a:endParaRPr sz="1200" b="1" u="none" strike="noStrike" cap="none">
                        <a:solidFill>
                          <a:srgbClr val="161718"/>
                        </a:solidFill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b="1" u="none" strike="noStrike" cap="none">
                          <a:solidFill>
                            <a:srgbClr val="161718"/>
                          </a:solidFill>
                        </a:rPr>
                        <a:t>Forecast and Pipeline Process:</a:t>
                      </a:r>
                      <a:r>
                        <a:rPr lang="en-US" sz="1100" b="0" u="none" strike="noStrike" cap="none">
                          <a:solidFill>
                            <a:srgbClr val="161718"/>
                          </a:solidFill>
                        </a:rPr>
                        <a:t>  Implement a consistent and accurate forecast process that is used throughout the organization based on best practices. </a:t>
                      </a:r>
                      <a:endParaRPr sz="1100"/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b="1" u="none" strike="noStrike" cap="none">
                          <a:solidFill>
                            <a:srgbClr val="161718"/>
                          </a:solidFill>
                        </a:rPr>
                        <a:t>Reporting and Analytics:</a:t>
                      </a:r>
                      <a:r>
                        <a:rPr lang="en-US" sz="1100" b="0" u="none" strike="noStrike" cap="none">
                          <a:solidFill>
                            <a:srgbClr val="161718"/>
                          </a:solidFill>
                        </a:rPr>
                        <a:t>  Create role-based reports/dashboards that drive visibility and decision making for the user (Marketing, Customer Success, Sales, Etc.)</a:t>
                      </a:r>
                      <a:endParaRPr sz="1100" b="1" u="none" strike="noStrike" cap="none">
                        <a:solidFill>
                          <a:srgbClr val="161718"/>
                        </a:solidFill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>
                          <a:solidFill>
                            <a:srgbClr val="161718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New Business Pipeline Coverage CQ, CQ+1, CQ+3</a:t>
                      </a:r>
                      <a:endParaRPr sz="110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>
                          <a:solidFill>
                            <a:srgbClr val="161718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Pipeline by Type – New Logo</a:t>
                      </a:r>
                      <a:endParaRPr sz="110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>
                          <a:solidFill>
                            <a:srgbClr val="161718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New Business Pipeline Average Deal Size - ACV, TCV</a:t>
                      </a:r>
                      <a:endParaRPr sz="110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>
                          <a:solidFill>
                            <a:srgbClr val="161718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New Business Bookings/head</a:t>
                      </a:r>
                      <a:endParaRPr sz="110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>
                          <a:solidFill>
                            <a:srgbClr val="161718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New Logo acquisition compared to PY and Plan</a:t>
                      </a:r>
                      <a:endParaRPr sz="1100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95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solidFill>
                            <a:srgbClr val="161718"/>
                          </a:solidFill>
                        </a:rPr>
                        <a:t>Increased New Logo Acquisition</a:t>
                      </a:r>
                      <a:endParaRPr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b="1" u="none" strike="noStrike" cap="none" dirty="0">
                          <a:solidFill>
                            <a:srgbClr val="161718"/>
                          </a:solidFill>
                        </a:rPr>
                        <a:t>Compensation/Quota Design:  </a:t>
                      </a:r>
                      <a:r>
                        <a:rPr lang="en-US" sz="1100" b="0" u="none" strike="noStrike" cap="none" dirty="0">
                          <a:solidFill>
                            <a:srgbClr val="161718"/>
                          </a:solidFill>
                        </a:rPr>
                        <a:t>Develop an incentive compensation program that stays within the corporate budget, attracts/retains top talent and motivates desired behavior; work with sales managers and finance to ensure that plans are best in class</a:t>
                      </a:r>
                      <a:endParaRPr sz="1100" dirty="0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Sales Process Adoption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Pipeline Coverage CQ, CQ+1, CQ+3</a:t>
                      </a:r>
                      <a:endParaRPr sz="1100" dirty="0"/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61718"/>
                        </a:buClr>
                        <a:buSzPts val="1200"/>
                        <a:buFont typeface="Arial"/>
                        <a:buChar char="•"/>
                      </a:pPr>
                      <a:r>
                        <a:rPr lang="en-US" sz="1100" u="none" strike="noStrike" cap="none" dirty="0">
                          <a:solidFill>
                            <a:srgbClr val="161718"/>
                          </a:solidFill>
                          <a:latin typeface="Avenir"/>
                          <a:ea typeface="Avenir"/>
                          <a:cs typeface="Avenir"/>
                          <a:sym typeface="Avenir"/>
                        </a:rPr>
                        <a:t>Pipeline growth inline with plan</a:t>
                      </a:r>
                      <a:endParaRPr sz="1100" dirty="0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Chevron 4">
            <a:extLst>
              <a:ext uri="{FF2B5EF4-FFF2-40B4-BE49-F238E27FC236}">
                <a16:creationId xmlns:a16="http://schemas.microsoft.com/office/drawing/2014/main" id="{7F70F3CE-112E-97CC-D92F-BAA6025FCA8D}"/>
              </a:ext>
            </a:extLst>
          </p:cNvPr>
          <p:cNvSpPr/>
          <p:nvPr/>
        </p:nvSpPr>
        <p:spPr>
          <a:xfrm>
            <a:off x="986117" y="1228957"/>
            <a:ext cx="376518" cy="376388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Chevron 5">
            <a:extLst>
              <a:ext uri="{FF2B5EF4-FFF2-40B4-BE49-F238E27FC236}">
                <a16:creationId xmlns:a16="http://schemas.microsoft.com/office/drawing/2014/main" id="{A5781E15-801C-1C84-2A7D-9BE93C954755}"/>
              </a:ext>
            </a:extLst>
          </p:cNvPr>
          <p:cNvSpPr/>
          <p:nvPr/>
        </p:nvSpPr>
        <p:spPr>
          <a:xfrm>
            <a:off x="609599" y="1228957"/>
            <a:ext cx="376518" cy="376388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0551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6DCB9F5E-0585-0FFA-92B9-5D2E13E5D4BA}"/>
              </a:ext>
            </a:extLst>
          </p:cNvPr>
          <p:cNvSpPr/>
          <p:nvPr/>
        </p:nvSpPr>
        <p:spPr>
          <a:xfrm>
            <a:off x="0" y="987554"/>
            <a:ext cx="121920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21" name="Google Shape;206;p8">
            <a:extLst>
              <a:ext uri="{FF2B5EF4-FFF2-40B4-BE49-F238E27FC236}">
                <a16:creationId xmlns:a16="http://schemas.microsoft.com/office/drawing/2014/main" id="{E63BED35-963C-9572-7326-63881DF4FA83}"/>
              </a:ext>
            </a:extLst>
          </p:cNvPr>
          <p:cNvSpPr/>
          <p:nvPr/>
        </p:nvSpPr>
        <p:spPr>
          <a:xfrm>
            <a:off x="2245361" y="1415748"/>
            <a:ext cx="1517540" cy="1547103"/>
          </a:xfrm>
          <a:prstGeom prst="trapezoid">
            <a:avLst>
              <a:gd name="adj" fmla="val 50000"/>
            </a:avLst>
          </a:prstGeom>
          <a:solidFill>
            <a:schemeClr val="accent3"/>
          </a:solidFill>
          <a:ln w="25400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Avenir Next LT Pro" panose="020B0504020202020204" pitchFamily="34" charset="77"/>
                <a:ea typeface="Avenir"/>
                <a:cs typeface="Avenir"/>
                <a:sym typeface="Avenir"/>
              </a:rPr>
              <a:t>Revenue Operations Reporting Should Span Behavior, Leading, and Lagging Indicators</a:t>
            </a:r>
            <a:endParaRPr lang="en-US" dirty="0">
              <a:latin typeface="Avenir Next LT Pro" panose="020B0504020202020204" pitchFamily="34" charset="77"/>
            </a:endParaRPr>
          </a:p>
        </p:txBody>
      </p:sp>
      <p:grpSp>
        <p:nvGrpSpPr>
          <p:cNvPr id="2" name="Google Shape;205;p8">
            <a:extLst>
              <a:ext uri="{FF2B5EF4-FFF2-40B4-BE49-F238E27FC236}">
                <a16:creationId xmlns:a16="http://schemas.microsoft.com/office/drawing/2014/main" id="{67A1F8F0-CE4D-12B1-3BD6-14CBD1DD1249}"/>
              </a:ext>
            </a:extLst>
          </p:cNvPr>
          <p:cNvGrpSpPr/>
          <p:nvPr/>
        </p:nvGrpSpPr>
        <p:grpSpPr>
          <a:xfrm>
            <a:off x="732887" y="1725614"/>
            <a:ext cx="4552621" cy="4635995"/>
            <a:chOff x="0" y="315180"/>
            <a:chExt cx="4552621" cy="4635995"/>
          </a:xfrm>
        </p:grpSpPr>
        <p:sp>
          <p:nvSpPr>
            <p:cNvPr id="4" name="Google Shape;207;p8">
              <a:extLst>
                <a:ext uri="{FF2B5EF4-FFF2-40B4-BE49-F238E27FC236}">
                  <a16:creationId xmlns:a16="http://schemas.microsoft.com/office/drawing/2014/main" id="{58041B52-B73A-6BDF-3A54-363B6DDD4B3E}"/>
                </a:ext>
              </a:extLst>
            </p:cNvPr>
            <p:cNvSpPr txBox="1"/>
            <p:nvPr/>
          </p:nvSpPr>
          <p:spPr>
            <a:xfrm>
              <a:off x="1520549" y="315180"/>
              <a:ext cx="1517540" cy="15471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5225" tIns="15225" rIns="15225" bIns="152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200"/>
                <a:buFont typeface="Avenir"/>
                <a:buNone/>
              </a:pPr>
              <a:endParaRPr sz="1200" b="1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endParaRPr>
            </a:p>
            <a:p>
              <a:pPr marL="0" marR="0" lvl="0" indent="0" algn="ctr" rtl="0">
                <a:lnSpc>
                  <a:spcPct val="90000"/>
                </a:lnSpc>
                <a:spcBef>
                  <a:spcPts val="42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venir"/>
                <a:buNone/>
              </a:pPr>
              <a:r>
                <a:rPr lang="en-US" sz="1400" b="1" dirty="0">
                  <a:solidFill>
                    <a:schemeClr val="lt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Lagging </a:t>
              </a:r>
              <a:endParaRPr sz="1400" b="1" dirty="0">
                <a:latin typeface="Avenir Next LT Pro" panose="020B0504020202020204" pitchFamily="34" charset="77"/>
              </a:endParaRPr>
            </a:p>
            <a:p>
              <a:pPr marL="0" marR="0" lvl="0" indent="0" algn="ctr" rtl="0">
                <a:lnSpc>
                  <a:spcPct val="90000"/>
                </a:lnSpc>
                <a:spcBef>
                  <a:spcPts val="42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venir"/>
                <a:buNone/>
              </a:pPr>
              <a:r>
                <a:rPr lang="en-US" sz="1400" b="1" dirty="0">
                  <a:solidFill>
                    <a:schemeClr val="lt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Indicators</a:t>
              </a:r>
              <a:endParaRPr sz="1400" b="1" dirty="0">
                <a:latin typeface="Avenir Next LT Pro" panose="020B0504020202020204" pitchFamily="34" charset="77"/>
              </a:endParaRPr>
            </a:p>
          </p:txBody>
        </p:sp>
        <p:sp>
          <p:nvSpPr>
            <p:cNvPr id="5" name="Google Shape;208;p8">
              <a:extLst>
                <a:ext uri="{FF2B5EF4-FFF2-40B4-BE49-F238E27FC236}">
                  <a16:creationId xmlns:a16="http://schemas.microsoft.com/office/drawing/2014/main" id="{A7AAAE4B-B842-0359-7CDD-050BE62DB57F}"/>
                </a:ext>
              </a:extLst>
            </p:cNvPr>
            <p:cNvSpPr/>
            <p:nvPr/>
          </p:nvSpPr>
          <p:spPr>
            <a:xfrm>
              <a:off x="758770" y="1547103"/>
              <a:ext cx="3035080" cy="1547103"/>
            </a:xfrm>
            <a:prstGeom prst="trapezoid">
              <a:avLst>
                <a:gd name="adj" fmla="val 49045"/>
              </a:avLst>
            </a:prstGeom>
            <a:solidFill>
              <a:schemeClr val="accent3"/>
            </a:solidFill>
            <a:ln w="25400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6" name="Google Shape;209;p8">
              <a:extLst>
                <a:ext uri="{FF2B5EF4-FFF2-40B4-BE49-F238E27FC236}">
                  <a16:creationId xmlns:a16="http://schemas.microsoft.com/office/drawing/2014/main" id="{E6E4C87C-1806-E1C9-4179-9FA19A81B8B4}"/>
                </a:ext>
              </a:extLst>
            </p:cNvPr>
            <p:cNvSpPr txBox="1"/>
            <p:nvPr/>
          </p:nvSpPr>
          <p:spPr>
            <a:xfrm>
              <a:off x="1309802" y="1915212"/>
              <a:ext cx="1972802" cy="15471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5225" tIns="15225" rIns="15225" bIns="152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venir"/>
                <a:buNone/>
              </a:pPr>
              <a:r>
                <a:rPr lang="en-US" sz="1400" b="1" dirty="0">
                  <a:solidFill>
                    <a:schemeClr val="lt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Leading Indicators</a:t>
              </a:r>
              <a:endParaRPr sz="1400" dirty="0">
                <a:latin typeface="Avenir Next LT Pro" panose="020B0504020202020204" pitchFamily="34" charset="77"/>
              </a:endParaRPr>
            </a:p>
          </p:txBody>
        </p:sp>
        <p:sp>
          <p:nvSpPr>
            <p:cNvPr id="8" name="Google Shape;210;p8">
              <a:extLst>
                <a:ext uri="{FF2B5EF4-FFF2-40B4-BE49-F238E27FC236}">
                  <a16:creationId xmlns:a16="http://schemas.microsoft.com/office/drawing/2014/main" id="{A903817C-DBEC-0646-3D21-EAAB3EDACF6A}"/>
                </a:ext>
              </a:extLst>
            </p:cNvPr>
            <p:cNvSpPr/>
            <p:nvPr/>
          </p:nvSpPr>
          <p:spPr>
            <a:xfrm>
              <a:off x="0" y="3081459"/>
              <a:ext cx="4552621" cy="1547103"/>
            </a:xfrm>
            <a:prstGeom prst="trapezoid">
              <a:avLst>
                <a:gd name="adj" fmla="val 49045"/>
              </a:avLst>
            </a:prstGeom>
            <a:solidFill>
              <a:schemeClr val="accent3"/>
            </a:solidFill>
            <a:ln w="25400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9" name="Google Shape;211;p8">
              <a:extLst>
                <a:ext uri="{FF2B5EF4-FFF2-40B4-BE49-F238E27FC236}">
                  <a16:creationId xmlns:a16="http://schemas.microsoft.com/office/drawing/2014/main" id="{388ED4B9-6BB4-C2BA-7272-DF0ED87B69FF}"/>
                </a:ext>
              </a:extLst>
            </p:cNvPr>
            <p:cNvSpPr txBox="1"/>
            <p:nvPr/>
          </p:nvSpPr>
          <p:spPr>
            <a:xfrm>
              <a:off x="834647" y="3404072"/>
              <a:ext cx="2959203" cy="15471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5225" tIns="15225" rIns="15225" bIns="152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venir"/>
                <a:buNone/>
              </a:pPr>
              <a:r>
                <a:rPr lang="en-US" sz="1400" b="1" dirty="0">
                  <a:solidFill>
                    <a:schemeClr val="lt1"/>
                  </a:solidFill>
                  <a:latin typeface="Avenir Next LT Pro" panose="020B0504020202020204" pitchFamily="34" charset="77"/>
                  <a:ea typeface="Avenir"/>
                  <a:cs typeface="Avenir"/>
                  <a:sym typeface="Avenir"/>
                </a:rPr>
                <a:t>Behavioral Indicators</a:t>
              </a:r>
              <a:endParaRPr sz="1400" dirty="0">
                <a:latin typeface="Avenir Next LT Pro" panose="020B0504020202020204" pitchFamily="34" charset="77"/>
              </a:endParaRPr>
            </a:p>
          </p:txBody>
        </p:sp>
      </p:grpSp>
      <p:sp>
        <p:nvSpPr>
          <p:cNvPr id="10" name="Google Shape;218;p8">
            <a:extLst>
              <a:ext uri="{FF2B5EF4-FFF2-40B4-BE49-F238E27FC236}">
                <a16:creationId xmlns:a16="http://schemas.microsoft.com/office/drawing/2014/main" id="{3C3675BF-9701-AF7C-3A21-9B2A10435FC4}"/>
              </a:ext>
            </a:extLst>
          </p:cNvPr>
          <p:cNvSpPr/>
          <p:nvPr/>
        </p:nvSpPr>
        <p:spPr>
          <a:xfrm rot="-9229628">
            <a:off x="1457207" y="1120504"/>
            <a:ext cx="371770" cy="5010838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0"/>
                </a:moveTo>
                <a:cubicBezTo>
                  <a:pt x="5965" y="0"/>
                  <a:pt x="10800" y="179"/>
                  <a:pt x="10800" y="401"/>
                </a:cubicBezTo>
                <a:lnTo>
                  <a:pt x="10800" y="9666"/>
                </a:lnTo>
                <a:cubicBezTo>
                  <a:pt x="10800" y="9887"/>
                  <a:pt x="15635" y="10066"/>
                  <a:pt x="21600" y="10066"/>
                </a:cubicBezTo>
                <a:cubicBezTo>
                  <a:pt x="15635" y="10066"/>
                  <a:pt x="10800" y="10246"/>
                  <a:pt x="10800" y="10467"/>
                </a:cubicBezTo>
                <a:lnTo>
                  <a:pt x="10800" y="21199"/>
                </a:lnTo>
                <a:cubicBezTo>
                  <a:pt x="10800" y="21421"/>
                  <a:pt x="5965" y="21600"/>
                  <a:pt x="0" y="21600"/>
                </a:cubicBezTo>
              </a:path>
            </a:pathLst>
          </a:custGeom>
          <a:noFill/>
          <a:ln w="9525" cap="flat" cmpd="sng">
            <a:solidFill>
              <a:srgbClr val="6B5301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venir"/>
              <a:buNone/>
            </a:pPr>
            <a:endParaRPr lang="en-US" sz="1800" b="0" i="0" u="none" strike="noStrike" cap="none" dirty="0">
              <a:solidFill>
                <a:srgbClr val="4C4846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65FFE3-033F-9FD4-497E-C619A5A6938C}"/>
              </a:ext>
            </a:extLst>
          </p:cNvPr>
          <p:cNvSpPr txBox="1"/>
          <p:nvPr/>
        </p:nvSpPr>
        <p:spPr>
          <a:xfrm>
            <a:off x="0" y="2215648"/>
            <a:ext cx="1737021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100"/>
              <a:buFont typeface="Avenir"/>
              <a:buNone/>
            </a:pPr>
            <a:r>
              <a:rPr lang="en-US" sz="1400" dirty="0">
                <a:solidFill>
                  <a:srgbClr val="4C4846"/>
                </a:solidFill>
                <a:latin typeface="Avenir"/>
                <a:ea typeface="Avenir"/>
                <a:cs typeface="Avenir"/>
                <a:sym typeface="Avenir"/>
              </a:rPr>
              <a:t>Best in class companies measure behavioral, leading, and lagging indicators</a:t>
            </a:r>
            <a:endParaRPr lang="en-US" sz="1400" dirty="0"/>
          </a:p>
        </p:txBody>
      </p:sp>
      <p:sp>
        <p:nvSpPr>
          <p:cNvPr id="13" name="Google Shape;215;p8">
            <a:extLst>
              <a:ext uri="{FF2B5EF4-FFF2-40B4-BE49-F238E27FC236}">
                <a16:creationId xmlns:a16="http://schemas.microsoft.com/office/drawing/2014/main" id="{7C17221F-816E-D7E3-201D-2AA0CA77FFAB}"/>
              </a:ext>
            </a:extLst>
          </p:cNvPr>
          <p:cNvSpPr txBox="1"/>
          <p:nvPr/>
        </p:nvSpPr>
        <p:spPr>
          <a:xfrm>
            <a:off x="3762900" y="2022302"/>
            <a:ext cx="7499461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600"/>
              <a:buFont typeface="Avenir"/>
              <a:buNone/>
            </a:pPr>
            <a:r>
              <a:rPr lang="en-US" sz="1400" b="0" i="0" u="none" strike="noStrike" cap="none" dirty="0">
                <a:solidFill>
                  <a:srgbClr val="4C4846"/>
                </a:solidFill>
                <a:latin typeface="Avenir"/>
                <a:ea typeface="Avenir"/>
                <a:cs typeface="Avenir"/>
                <a:sym typeface="Avenir"/>
              </a:rPr>
              <a:t>Of the reports being produced, many are looking in the rear-view mirror. Lagging indicators tell you ‘what’ happened. </a:t>
            </a:r>
            <a:endParaRPr sz="1400" dirty="0"/>
          </a:p>
        </p:txBody>
      </p:sp>
      <p:sp>
        <p:nvSpPr>
          <p:cNvPr id="14" name="Google Shape;216;p8">
            <a:extLst>
              <a:ext uri="{FF2B5EF4-FFF2-40B4-BE49-F238E27FC236}">
                <a16:creationId xmlns:a16="http://schemas.microsoft.com/office/drawing/2014/main" id="{F928778E-AF28-D983-B567-10A9206FC549}"/>
              </a:ext>
            </a:extLst>
          </p:cNvPr>
          <p:cNvSpPr txBox="1"/>
          <p:nvPr/>
        </p:nvSpPr>
        <p:spPr>
          <a:xfrm>
            <a:off x="4542093" y="3485144"/>
            <a:ext cx="6720268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600"/>
              <a:buFont typeface="Avenir"/>
              <a:buNone/>
            </a:pPr>
            <a:r>
              <a:rPr lang="en-US" sz="1400" b="0" i="0" u="none" strike="noStrike" cap="none" dirty="0">
                <a:solidFill>
                  <a:srgbClr val="4C4846"/>
                </a:solidFill>
                <a:latin typeface="Avenir"/>
                <a:ea typeface="Avenir"/>
                <a:cs typeface="Avenir"/>
                <a:sym typeface="Avenir"/>
              </a:rPr>
              <a:t>By measuring leading indicators, the Revenue Ops team can provide more insight on what will happen, why it will happen and what we can do about it today.</a:t>
            </a:r>
            <a:endParaRPr sz="1400" dirty="0"/>
          </a:p>
        </p:txBody>
      </p:sp>
      <p:sp>
        <p:nvSpPr>
          <p:cNvPr id="15" name="Google Shape;217;p8">
            <a:extLst>
              <a:ext uri="{FF2B5EF4-FFF2-40B4-BE49-F238E27FC236}">
                <a16:creationId xmlns:a16="http://schemas.microsoft.com/office/drawing/2014/main" id="{131A56F6-604E-9DF6-FCDD-5902E23E0E76}"/>
              </a:ext>
            </a:extLst>
          </p:cNvPr>
          <p:cNvSpPr txBox="1"/>
          <p:nvPr/>
        </p:nvSpPr>
        <p:spPr>
          <a:xfrm>
            <a:off x="5285508" y="4885668"/>
            <a:ext cx="6173605" cy="73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6"/>
              </a:buClr>
              <a:buSzPts val="1600"/>
              <a:buFont typeface="Avenir"/>
              <a:buNone/>
            </a:pPr>
            <a:r>
              <a:rPr lang="en-US" sz="1400" b="0" i="0" u="none" strike="noStrike" cap="none" dirty="0">
                <a:solidFill>
                  <a:srgbClr val="4C4846"/>
                </a:solidFill>
                <a:latin typeface="Avenir"/>
                <a:ea typeface="Avenir"/>
                <a:cs typeface="Avenir"/>
                <a:sym typeface="Avenir"/>
              </a:rPr>
              <a:t>Reporting and inspecting on behavioral and leading KPIs will ensure each department is completing the activities needed to produce leading and lagging results.</a:t>
            </a:r>
            <a:endParaRPr sz="1400" dirty="0"/>
          </a:p>
        </p:txBody>
      </p:sp>
      <p:cxnSp>
        <p:nvCxnSpPr>
          <p:cNvPr id="16" name="Google Shape;212;p8">
            <a:extLst>
              <a:ext uri="{FF2B5EF4-FFF2-40B4-BE49-F238E27FC236}">
                <a16:creationId xmlns:a16="http://schemas.microsoft.com/office/drawing/2014/main" id="{5982C7CF-D970-95D9-C52A-0A08CF394D2C}"/>
              </a:ext>
            </a:extLst>
          </p:cNvPr>
          <p:cNvCxnSpPr/>
          <p:nvPr/>
        </p:nvCxnSpPr>
        <p:spPr>
          <a:xfrm>
            <a:off x="3009197" y="1453361"/>
            <a:ext cx="9106603" cy="0"/>
          </a:xfrm>
          <a:prstGeom prst="straightConnector1">
            <a:avLst/>
          </a:prstGeom>
          <a:noFill/>
          <a:ln w="25400" cap="flat" cmpd="sng">
            <a:solidFill>
              <a:schemeClr val="dk2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7" name="Google Shape;212;p8">
            <a:extLst>
              <a:ext uri="{FF2B5EF4-FFF2-40B4-BE49-F238E27FC236}">
                <a16:creationId xmlns:a16="http://schemas.microsoft.com/office/drawing/2014/main" id="{F11D3AB3-6BF4-656D-0FF2-32FF8B9B885D}"/>
              </a:ext>
            </a:extLst>
          </p:cNvPr>
          <p:cNvCxnSpPr/>
          <p:nvPr/>
        </p:nvCxnSpPr>
        <p:spPr>
          <a:xfrm>
            <a:off x="3009197" y="1453361"/>
            <a:ext cx="9106603" cy="0"/>
          </a:xfrm>
          <a:prstGeom prst="straightConnector1">
            <a:avLst/>
          </a:prstGeom>
          <a:noFill/>
          <a:ln w="25400" cap="flat" cmpd="sng">
            <a:solidFill>
              <a:schemeClr val="dk2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8" name="Google Shape;213;p8">
            <a:extLst>
              <a:ext uri="{FF2B5EF4-FFF2-40B4-BE49-F238E27FC236}">
                <a16:creationId xmlns:a16="http://schemas.microsoft.com/office/drawing/2014/main" id="{2C29422F-E6FA-E61C-A97E-2D032BF10D8F}"/>
              </a:ext>
            </a:extLst>
          </p:cNvPr>
          <p:cNvCxnSpPr/>
          <p:nvPr/>
        </p:nvCxnSpPr>
        <p:spPr>
          <a:xfrm>
            <a:off x="3780887" y="2957254"/>
            <a:ext cx="8334913" cy="0"/>
          </a:xfrm>
          <a:prstGeom prst="straightConnector1">
            <a:avLst/>
          </a:prstGeom>
          <a:noFill/>
          <a:ln w="25400" cap="flat" cmpd="sng">
            <a:solidFill>
              <a:schemeClr val="dk2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9" name="Google Shape;214;p8">
            <a:extLst>
              <a:ext uri="{FF2B5EF4-FFF2-40B4-BE49-F238E27FC236}">
                <a16:creationId xmlns:a16="http://schemas.microsoft.com/office/drawing/2014/main" id="{06715C0E-B165-6563-6E6D-AB46CBA614FA}"/>
              </a:ext>
            </a:extLst>
          </p:cNvPr>
          <p:cNvCxnSpPr/>
          <p:nvPr/>
        </p:nvCxnSpPr>
        <p:spPr>
          <a:xfrm>
            <a:off x="4542887" y="4491886"/>
            <a:ext cx="7572913" cy="0"/>
          </a:xfrm>
          <a:prstGeom prst="straightConnector1">
            <a:avLst/>
          </a:prstGeom>
          <a:noFill/>
          <a:ln w="25400" cap="flat" cmpd="sng">
            <a:solidFill>
              <a:schemeClr val="dk2"/>
            </a:solidFill>
            <a:prstDash val="dot"/>
            <a:round/>
            <a:headEnd type="none" w="sm" len="sm"/>
            <a:tailEnd type="none" w="sm" len="sm"/>
          </a:ln>
        </p:spPr>
      </p:cxnSp>
      <p:pic>
        <p:nvPicPr>
          <p:cNvPr id="28" name="Graphic 27" descr="Badge 1 outline">
            <a:extLst>
              <a:ext uri="{FF2B5EF4-FFF2-40B4-BE49-F238E27FC236}">
                <a16:creationId xmlns:a16="http://schemas.microsoft.com/office/drawing/2014/main" id="{C4984F81-5A8A-E76A-E01A-19D06D86DC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88832" y="4766509"/>
            <a:ext cx="480516" cy="480516"/>
          </a:xfrm>
          <a:prstGeom prst="rect">
            <a:avLst/>
          </a:prstGeom>
        </p:spPr>
      </p:pic>
      <p:pic>
        <p:nvPicPr>
          <p:cNvPr id="34" name="Graphic 33" descr="Badge outline">
            <a:extLst>
              <a:ext uri="{FF2B5EF4-FFF2-40B4-BE49-F238E27FC236}">
                <a16:creationId xmlns:a16="http://schemas.microsoft.com/office/drawing/2014/main" id="{DF4F3BDA-D3B3-9EE1-BACD-5E2B442EBB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49487" y="3360575"/>
            <a:ext cx="498006" cy="498006"/>
          </a:xfrm>
          <a:prstGeom prst="rect">
            <a:avLst/>
          </a:prstGeom>
        </p:spPr>
      </p:pic>
      <p:pic>
        <p:nvPicPr>
          <p:cNvPr id="36" name="Graphic 35" descr="Badge 3 outline">
            <a:extLst>
              <a:ext uri="{FF2B5EF4-FFF2-40B4-BE49-F238E27FC236}">
                <a16:creationId xmlns:a16="http://schemas.microsoft.com/office/drawing/2014/main" id="{065F0E21-B05A-8792-A458-8AAE712D53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60194" y="1883883"/>
            <a:ext cx="498006" cy="498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051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8519F7B8-F9D6-413C-90EE-17578C13959F}" vid="{8D5C7C41-2EB4-4D67-A566-A6192B30E9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45970336D75C4CAB2ECCCE65268DD7" ma:contentTypeVersion="14" ma:contentTypeDescription="Create a new document." ma:contentTypeScope="" ma:versionID="3d557a90f4d64ddfe2d3d576b0cd8d36">
  <xsd:schema xmlns:xsd="http://www.w3.org/2001/XMLSchema" xmlns:xs="http://www.w3.org/2001/XMLSchema" xmlns:p="http://schemas.microsoft.com/office/2006/metadata/properties" xmlns:ns2="a3b0eac3-55b5-4ee4-ade7-be65d09c5d6e" xmlns:ns3="b71745fe-8e84-41ad-935b-7c5d8babdf9e" targetNamespace="http://schemas.microsoft.com/office/2006/metadata/properties" ma:root="true" ma:fieldsID="14763c1e418e199e061edc34360a609c" ns2:_="" ns3:_="">
    <xsd:import namespace="a3b0eac3-55b5-4ee4-ade7-be65d09c5d6e"/>
    <xsd:import namespace="b71745fe-8e84-41ad-935b-7c5d8babdf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b0eac3-55b5-4ee4-ade7-be65d09c5d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1745fe-8e84-41ad-935b-7c5d8babdf9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ac26ba9-e713-4591-b7b4-aedaf132b945}" ma:internalName="TaxCatchAll" ma:showField="CatchAllData" ma:web="b71745fe-8e84-41ad-935b-7c5d8babdf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71745fe-8e84-41ad-935b-7c5d8babdf9e" xsi:nil="true"/>
    <lcf76f155ced4ddcb4097134ff3c332f xmlns="a3b0eac3-55b5-4ee4-ade7-be65d09c5d6e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061EB66-57A0-44A5-8746-F081C36949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b0eac3-55b5-4ee4-ade7-be65d09c5d6e"/>
    <ds:schemaRef ds:uri="b71745fe-8e84-41ad-935b-7c5d8babdf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9128FD6-8858-425E-832B-5DB847F75EB9}">
  <ds:schemaRefs>
    <ds:schemaRef ds:uri="http://schemas.microsoft.com/office/2006/metadata/properties"/>
    <ds:schemaRef ds:uri="http://schemas.microsoft.com/office/infopath/2007/PartnerControls"/>
    <ds:schemaRef ds:uri="b71745fe-8e84-41ad-935b-7c5d8babdf9e"/>
    <ds:schemaRef ds:uri="a3b0eac3-55b5-4ee4-ade7-be65d09c5d6e"/>
  </ds:schemaRefs>
</ds:datastoreItem>
</file>

<file path=customXml/itemProps3.xml><?xml version="1.0" encoding="utf-8"?>
<ds:datastoreItem xmlns:ds="http://schemas.openxmlformats.org/officeDocument/2006/customXml" ds:itemID="{3CAFFD68-255E-420A-ADE0-A349EE07872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9984</TotalTime>
  <Words>2961</Words>
  <Application>Microsoft Macintosh PowerPoint</Application>
  <PresentationFormat>Widescreen</PresentationFormat>
  <Paragraphs>413</Paragraphs>
  <Slides>2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ptos</vt:lpstr>
      <vt:lpstr>Arial</vt:lpstr>
      <vt:lpstr>Avenir</vt:lpstr>
      <vt:lpstr>Avenir Next LT Pro</vt:lpstr>
      <vt:lpstr>Courier New</vt:lpstr>
      <vt:lpstr>SBI PPT</vt:lpstr>
      <vt:lpstr>think-cell Slide</vt:lpstr>
      <vt:lpstr>How to Build a Revenue Operations Capability and Charter</vt:lpstr>
      <vt:lpstr>    Table of Contents </vt:lpstr>
      <vt:lpstr>PowerPoint Presentation</vt:lpstr>
      <vt:lpstr>         Revenue Operations Overview </vt:lpstr>
      <vt:lpstr>Revenue Operations’ View Across Go-to-Market Results in Improvements to Commercial Productivity</vt:lpstr>
      <vt:lpstr>Revenue Operations Structure</vt:lpstr>
      <vt:lpstr>Revenue Operations’ Scope Spans Capabilities Critical to  all Go-to-Market Functions</vt:lpstr>
      <vt:lpstr>Revenue Operations Strategy Typically Supports 4 Key Business Outcomes</vt:lpstr>
      <vt:lpstr>Revenue Operations Reporting Should Span Behavior, Leading, and Lagging Indicators</vt:lpstr>
      <vt:lpstr>Revenue Operations</vt:lpstr>
      <vt:lpstr>Building a Revenue Operations Charter</vt:lpstr>
      <vt:lpstr>Key Questions to Consider</vt:lpstr>
      <vt:lpstr>How Revenue Operations Supports Cross-Functional Teams</vt:lpstr>
      <vt:lpstr>PowerPoint Presentation</vt:lpstr>
      <vt:lpstr>PowerPoint Presentation</vt:lpstr>
      <vt:lpstr>Client Example:  Charter Mission Statement, Business Outcomes and Values</vt:lpstr>
      <vt:lpstr>Client Example:  Core Values of Revenue Operations</vt:lpstr>
      <vt:lpstr>Client Example: Core Accountabilities of Revenue Operations</vt:lpstr>
      <vt:lpstr>Client Example:  Pipeline &amp; Revenue Metrics Actively Monitored by Revenue Operations</vt:lpstr>
      <vt:lpstr>PowerPoint Presentation</vt:lpstr>
      <vt:lpstr>4 Pillars of Performance: Planning, Strategy, Execution, and Optimization</vt:lpstr>
      <vt:lpstr>RACI Exerci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rrent SBI PPT Template</dc:title>
  <dc:creator>Aaron Bean</dc:creator>
  <cp:lastModifiedBy>Ivana Drazic</cp:lastModifiedBy>
  <cp:revision>5</cp:revision>
  <dcterms:created xsi:type="dcterms:W3CDTF">2022-12-02T21:37:18Z</dcterms:created>
  <dcterms:modified xsi:type="dcterms:W3CDTF">2024-05-03T18:0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45970336D75C4CAB2ECCCE65268DD7</vt:lpwstr>
  </property>
</Properties>
</file>